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41" r:id="rId5"/>
  </p:sldMasterIdLst>
  <p:notesMasterIdLst>
    <p:notesMasterId r:id="rId8"/>
  </p:notesMasterIdLst>
  <p:sldIdLst>
    <p:sldId id="430" r:id="rId6"/>
    <p:sldId id="431" r:id="rId7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4CEA7E-C07E-FAF2-B2E0-39BB02AD7B64}" name="Shinde, Samwad" initials="SS" userId="S::shindsam@merck.com::40922429-2f7d-4c1d-90df-ddf76551a42d" providerId="AD"/>
  <p188:author id="{4FCA97FB-6B76-332A-043B-AC8FCD5594B2}" name="kapoor, aditya" initials="ka" userId="S::kapooadi@merck.com::681f1a22-e9fb-42b0-aa12-aec6248a71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rck &amp; Co., Inc." initials="LC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70B"/>
    <a:srgbClr val="FF0000"/>
    <a:srgbClr val="00857C"/>
    <a:srgbClr val="9EA7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6192"/>
  </p:normalViewPr>
  <p:slideViewPr>
    <p:cSldViewPr snapToGrid="0" showGuides="1">
      <p:cViewPr varScale="1">
        <p:scale>
          <a:sx n="69" d="100"/>
          <a:sy n="69" d="100"/>
        </p:scale>
        <p:origin x="97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9666AB04-16FE-4906-B5AE-BFF797B8155A}" type="datetimeFigureOut">
              <a:rPr lang="en-GB" smtClean="0"/>
              <a:pPr/>
              <a:t>27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Invention" panose="020B0503020008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Invention" panose="020B0503020008020204" pitchFamily="34" charset="0"/>
              </a:defRPr>
            </a:lvl1pPr>
          </a:lstStyle>
          <a:p>
            <a:fld id="{A2DD403B-0F6A-4C1F-AE63-FA1FF361F76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425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Invention" panose="020B0503020008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241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11439144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11439144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522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2A630D-D2A2-A24D-9003-1BEE64F923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EDCDF1C-336C-0246-BDC6-596FD9C52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17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4BD0E-C4B5-A54B-9A77-159AD414B60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35E8A8-7A94-4D3A-8CEF-505EA93C3FA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1600"/>
              </a:spcAft>
              <a:defRPr b="1">
                <a:solidFill>
                  <a:schemeClr val="accent1"/>
                </a:solidFill>
              </a:defRPr>
            </a:lvl1pPr>
            <a:lvl2pPr marL="216000" indent="0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89220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12C56-F55F-3546-9A1C-3F18907ADBE0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6175" y="1925636"/>
            <a:ext cx="550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7907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502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C3A2D-2FFA-A644-AC22-DEFEDD04EC5A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C26C6CA-6FA0-41CA-894A-BF8B4460FDF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123375" y="1925636"/>
            <a:ext cx="46908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DCB0DAD-1D3A-4AE1-B658-E47AEDEBDC9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7825" y="1925638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A05E0C6-0A16-44EE-A33F-CB3D25780F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06177" y="1925636"/>
            <a:ext cx="727075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22840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6617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A5FAC7-D619-A54E-877A-A320E0D2E122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84744" y="6480175"/>
            <a:ext cx="229431" cy="216000"/>
          </a:xfrm>
        </p:spPr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433052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248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4175" y="1925637"/>
            <a:ext cx="684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677B2-E575-7548-9AE7-0387A468A29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608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A4EB-7CE5-0940-A150-C0B0199CEF30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74794FA-AA98-F44B-9C03-D9A23F686CE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292203" y="1925636"/>
            <a:ext cx="3607594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3747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ox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D9207-ADC6-1148-9671-F054DC63C638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37978F-B82C-43FD-83FD-6C5528177445}"/>
              </a:ext>
            </a:extLst>
          </p:cNvPr>
          <p:cNvCxnSpPr/>
          <p:nvPr userDrawn="1"/>
        </p:nvCxnSpPr>
        <p:spPr>
          <a:xfrm>
            <a:off x="4138811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E9591C-D839-480D-87AF-CCA3E39A8A12}"/>
              </a:ext>
            </a:extLst>
          </p:cNvPr>
          <p:cNvCxnSpPr/>
          <p:nvPr userDrawn="1"/>
        </p:nvCxnSpPr>
        <p:spPr>
          <a:xfrm>
            <a:off x="8053189" y="2779713"/>
            <a:ext cx="0" cy="34933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9CDDD6-A4E2-4D4C-82F0-B33A9971E1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222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29F3904-BD90-4349-B787-82A3653EBE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2600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D5749C8-BCF0-41ED-BD1F-0512A23DA9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6978" y="1925638"/>
            <a:ext cx="3606800" cy="694800"/>
          </a:xfrm>
          <a:prstGeom prst="rect">
            <a:avLst/>
          </a:prstGeom>
          <a:solidFill>
            <a:schemeClr val="accent1"/>
          </a:solidFill>
        </p:spPr>
        <p:txBody>
          <a:bodyPr lIns="180000" tIns="144000" rIns="180000" bIns="144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7" name="Picture 16" descr="A close up of smoke&#10;&#10;Description automatically generated">
            <a:extLst>
              <a:ext uri="{FF2B5EF4-FFF2-40B4-BE49-F238E27FC236}">
                <a16:creationId xmlns:a16="http://schemas.microsoft.com/office/drawing/2014/main" id="{5F203263-769C-4C12-9223-2001699512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7096" y="2098506"/>
            <a:ext cx="163429" cy="346582"/>
          </a:xfrm>
          <a:prstGeom prst="rect">
            <a:avLst/>
          </a:prstGeom>
        </p:spPr>
      </p:pic>
      <p:pic>
        <p:nvPicPr>
          <p:cNvPr id="18" name="Picture 17" descr="A close up of smoke&#10;&#10;Description automatically generated">
            <a:extLst>
              <a:ext uri="{FF2B5EF4-FFF2-40B4-BE49-F238E27FC236}">
                <a16:creationId xmlns:a16="http://schemas.microsoft.com/office/drawing/2014/main" id="{67406F93-4853-495C-80C0-0EF6FE29A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474" y="2100987"/>
            <a:ext cx="163429" cy="346582"/>
          </a:xfrm>
          <a:prstGeom prst="rect">
            <a:avLst/>
          </a:prstGeom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D2CA29D-86D5-4B12-95E3-E5BA1462E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1F82BA5-FD67-413D-BACC-18EB0523651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292202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D09D3E6-36C0-430F-BA84-5003F9B422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06579" y="2779714"/>
            <a:ext cx="3607594" cy="3602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6451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5419" y="1925637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371BE7-2050-464F-B3BA-FE133C9F987C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749797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664175" y="1925636"/>
            <a:ext cx="315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1C72693-AE5F-44C4-B2DE-80193159B3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7826" y="1925638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2ACADA-0A45-42F9-8B5C-1E169DE39EC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92600" y="1920800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CC5F8C-C4D5-42BB-A445-BB440A06A6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7374" y="1915962"/>
            <a:ext cx="534844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107946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73EB6BEA-3975-214B-94EF-41854C90D5A9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DCF90C-1CF9-4401-9944-53FD3BC1F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8B715D9-46C4-453C-9232-C5958522C1D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F5A29A8-85A5-46D8-8F53-96CD2CDDBFB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accent2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accent2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B21EA3-AB8A-2A4F-BBAC-105427A70A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909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3C11D-CBDE-CD44-8B22-0B01F921E311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C93332-FCA3-4054-A844-0AC0A2544D34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7712E2F-A70E-A449-B82B-DCC15A3F49B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81C63A-E439-DC4A-B1CA-8000C08D3F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1925636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EBE22AF-5013-184C-9B29-F1B4880E7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25" y="1925637"/>
            <a:ext cx="3607594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 smtClean="0">
                <a:solidFill>
                  <a:schemeClr val="bg1"/>
                </a:solidFill>
              </a:defRPr>
            </a:lvl5pPr>
            <a:lvl6pPr>
              <a:defRPr lang="en-US" dirty="0" smtClean="0">
                <a:solidFill>
                  <a:schemeClr val="bg1"/>
                </a:solidFill>
              </a:defRPr>
            </a:lvl6pPr>
            <a:lvl7pPr>
              <a:defRPr lang="en-US" dirty="0" smtClean="0">
                <a:solidFill>
                  <a:schemeClr val="bg1"/>
                </a:solidFill>
              </a:defRPr>
            </a:lvl7pPr>
            <a:lvl8pPr>
              <a:defRPr lang="en-US" dirty="0">
                <a:solidFill>
                  <a:schemeClr val="bg1"/>
                </a:solidFill>
              </a:defRPr>
            </a:lvl8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3521C8-6D7C-454E-8E2D-CDFFA7F74F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88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791B-FD39-994A-ADE5-789491EECC7A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BDD55-8102-A442-975A-192C62CA98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4904" y="1929384"/>
            <a:ext cx="11439144" cy="4453128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06059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7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321EC-5A9E-F847-A031-D651CF2B8CC1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942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2059" y="1925636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94175" y="1925635"/>
            <a:ext cx="2520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0668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3825" y="1925637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80DDC-B55F-5741-9B49-8D6EC6B4C32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35942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808059" y="1925636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780175" y="1925635"/>
            <a:ext cx="2034000" cy="44561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1B5C024-3D37-40F2-9B81-1690BB31914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7825" y="1925638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521F0D55-5210-49B5-B56F-CE30A8FB3C3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8187" y="1925635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3D09EB75-7828-4D9E-BDD9-CAE3A50CAFE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18549" y="1925632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29A3F0B-03EF-4E97-80EA-26AA53F30F6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8911" y="1925629"/>
            <a:ext cx="589379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70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2779714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84689-AE6E-864F-98D0-FBE196532CB7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1942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66059" y="2779713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0D3F88-0323-4B6F-A103-01F202829C3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060175" y="2779712"/>
            <a:ext cx="2754000" cy="3602036"/>
          </a:xfrm>
          <a:prstGeom prst="rect">
            <a:avLst/>
          </a:prstGeom>
          <a:solidFill>
            <a:srgbClr val="F7F7F7"/>
          </a:solidFill>
        </p:spPr>
        <p:txBody>
          <a:bodyPr lIns="288000" tIns="216000" rIns="288000" bIns="216000"/>
          <a:lstStyle>
            <a:lvl1pPr>
              <a:defRPr>
                <a:solidFill>
                  <a:schemeClr val="tx1"/>
                </a:solidFill>
              </a:defRPr>
            </a:lvl1pPr>
            <a:lvl2pPr marL="108000" indent="-108000">
              <a:spcAft>
                <a:spcPts val="1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075B33-7825-4C60-862C-61A603CFC7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E2CDC91-E304-418C-A9D7-28AC6287D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71629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E66F7D4-5CDC-4402-A280-84C231E68B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65433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C7CB55E-AF72-47A4-A35E-3697A3A8770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9237" y="1925638"/>
            <a:ext cx="2754313" cy="694800"/>
          </a:xfrm>
          <a:prstGeom prst="rect">
            <a:avLst/>
          </a:prstGeom>
          <a:solidFill>
            <a:schemeClr val="accent1"/>
          </a:solidFill>
        </p:spPr>
        <p:txBody>
          <a:bodyPr lIns="288000" rIns="288000" anchor="ctr"/>
          <a:lstStyle>
            <a:lvl1pPr algn="l"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76966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15A63-0F3E-7541-989F-B6BB8268B701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1925637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B90707-AB72-4BDF-AD03-5CEFF13586D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25638"/>
            <a:ext cx="0" cy="44561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8EA5DCD-04DC-4410-9C6C-9AFCE3FEC069}"/>
              </a:ext>
            </a:extLst>
          </p:cNvPr>
          <p:cNvCxnSpPr>
            <a:cxnSpLocks/>
          </p:cNvCxnSpPr>
          <p:nvPr userDrawn="1"/>
        </p:nvCxnSpPr>
        <p:spPr>
          <a:xfrm>
            <a:off x="6325431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8F22CA-E663-4B76-9B81-CB354FFB6727}"/>
              </a:ext>
            </a:extLst>
          </p:cNvPr>
          <p:cNvCxnSpPr>
            <a:cxnSpLocks/>
          </p:cNvCxnSpPr>
          <p:nvPr userDrawn="1"/>
        </p:nvCxnSpPr>
        <p:spPr>
          <a:xfrm>
            <a:off x="377824" y="4153694"/>
            <a:ext cx="549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7825" y="4381945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177" y="1925638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177" y="4381946"/>
            <a:ext cx="5488744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4806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iled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280BA-CC8A-4013-9EA0-65BE6D1C6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E5952D-165E-4422-B6F7-2DAF93800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E2310-EF22-DB42-8D0E-326FE67C5C6E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08CF89-19F1-4619-8CFD-015985367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4262D2-A268-4FAE-B4EE-0E28085AF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A7D77E-10EA-40B5-8684-ECAAEB1099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127" y="1925637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E28A2BE-C86F-4838-BC49-91E5E5418E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127" y="4381945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D42EF75-B0F1-4A74-B0FB-F2AF125C263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479" y="1925638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E0D7A43-F952-4A55-9F18-63C521552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5479" y="4381946"/>
            <a:ext cx="5107442" cy="1869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GB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8574B2E4-A6F8-41FA-8F1F-ECC21521DE3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7826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EF4EAA21-6775-4363-955A-9F4F38C86AA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324179" y="1925638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1FCF0DB0-8AF6-4AF8-9F54-BB3F00A8418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7826" y="4381945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BEBAAB19-15C5-44ED-923E-1ADCA4C004F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4179" y="4381944"/>
            <a:ext cx="506112" cy="854075"/>
          </a:xfrm>
          <a:prstGeom prst="rect">
            <a:avLst/>
          </a:prstGeom>
        </p:spPr>
        <p:txBody>
          <a:bodyPr/>
          <a:lstStyle>
            <a:lvl1pPr>
              <a:defRPr sz="2750">
                <a:latin typeface="+mj-lt"/>
              </a:defRPr>
            </a:lvl1pPr>
          </a:lstStyle>
          <a:p>
            <a:pPr lvl="0"/>
            <a:r>
              <a:rPr lang="en-US" dirty="0"/>
              <a:t>0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76952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6CCB-2F86-FB47-9487-506B4DB47B7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B56CAA8-120B-4156-BBDE-C14811D308A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2203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CAB32A-202F-4B4E-8290-6DE17E9C1F9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6581" y="3981600"/>
            <a:ext cx="3607594" cy="240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9EA4881-2F50-4460-9F83-A86DF033A1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1934308"/>
            <a:ext cx="11436350" cy="1730437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6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486805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8"/>
            <a:ext cx="4588975" cy="35377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181E-1562-794C-97AC-863F5C46B16E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5718175" cy="35377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7354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2439194"/>
            <a:ext cx="4246200" cy="3024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66A35-143B-C74F-8812-12406DE193EE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52175" y="2439194"/>
            <a:ext cx="5562000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367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25200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77600-63C6-224A-844E-432091F8FAD3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825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85419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7952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7825" y="1925637"/>
            <a:ext cx="4588975" cy="3601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B8D0D-AAA4-044B-9BDD-77A9840047A1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9F55C70-09CB-44D7-B3B4-B2ED40D94E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788" y="1925638"/>
            <a:ext cx="3607200" cy="1981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73D2010-09BB-46C7-9406-54716849AF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4988" y="3907438"/>
            <a:ext cx="2260800" cy="162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408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9445752" cy="2200275"/>
          </a:xfrm>
        </p:spPr>
        <p:txBody>
          <a:bodyPr anchor="b"/>
          <a:lstStyle>
            <a:lvl1pPr algn="l">
              <a:defRPr sz="42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ADC44A-9213-B64D-A8AB-66BD30E027C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71F286-AC27-F946-A03C-5489E556B9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5263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/Quot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0AEE9-0A7F-4479-B507-8B8082AFB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4265503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2A2D68-35A0-4566-A489-A0DCE0C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BBDF1-54A0-7848-BE17-E8C09DD7D4B5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03DFB-39D8-48D7-A3E4-B542813D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22642-328A-4E13-BB21-565845D77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036F06-EA18-C44C-A97B-2279D3B4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135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4D7A4D-7018-0A48-8987-4BFB6342C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EC296-2E91-F64C-A658-5F722A92785C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AE9DA3B-483B-5046-BCF8-E4117B41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3A7C83-E23B-9145-B016-22F86930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C9D17F-4A01-D84A-AD4C-F3C43A80CF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990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985336-9D22-364F-BF1E-A40BDAD6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8A72C-3345-8048-84BB-36E8B29E1D5F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AD67E-320D-D949-BDE9-CB17875DE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F668672-0CA3-7343-8BF8-BABC3A102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48F148-F7C2-E041-A072-90EB6611BB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10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7D4353-F79D-E94B-AE2E-881A5001D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443B8-DE0F-FD44-8538-B0173A13CB5C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AB1989F-C117-0841-AE56-C08131A7D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B469D0C-F673-4848-97B6-BE8BC5C41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030242-72B6-C147-A221-DF279D6BE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F58DCED-9CC2-A241-A902-5C1F3C42B8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AF0BF4-8250-E446-837B-5EA9534F37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340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1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C5C1224-3420-BD4C-AB03-597E49156B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968ACE-AF19-3041-ACD6-427E5021CCDD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0E31E45-BD7C-2244-A5AA-6B9A4DD18F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12DB7C9-9D63-8443-A5FD-D086C0E4DD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3410C-D5EE-774D-935A-8E4F028A50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94221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0"/>
            <a:ext cx="4140000" cy="4384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384800"/>
            <a:ext cx="1956000" cy="19969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1DABA81-09CA-2445-94F5-E8C5860AE5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D9622A0-B4DA-AB4C-98CE-E6395845296C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1A2F9A-5ACE-794A-BD66-D670CFEBB3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B9B6D6-A74F-7342-B26B-5A03F20C864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222C5BA-E246-C240-8053-0C72324AC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9120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4590000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3608388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F22C6B2-3601-40B5-A63A-084FE28E57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5000" y="-1"/>
            <a:ext cx="4140000" cy="359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5BD02FF6-E8C6-4907-A5E5-4B6BC63271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75000" y="3595125"/>
            <a:ext cx="1917000" cy="17058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1798D99-AE73-44D3-BA8B-DA609105C4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30400" y="5301000"/>
            <a:ext cx="1344600" cy="1080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1295CCF-38D8-0949-8CA7-B8F50CCEBF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5948ED-22D6-FD45-A9F4-17FAF5946A7A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798A22-719C-AD4E-A2E4-6E589B424B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7CDEA8-12CF-E54D-872A-A3A7C01687C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BABCDE-63B5-7C46-821D-F3064414E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12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7932"/>
            <a:ext cx="9445752" cy="2152469"/>
          </a:xfrm>
        </p:spPr>
        <p:txBody>
          <a:bodyPr anchor="b"/>
          <a:lstStyle>
            <a:lvl1pPr>
              <a:defRPr sz="5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4FF2D4-8454-424E-964D-366966599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D5127-EAB8-804B-8CE7-159BEF7EAD6B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EFFA1A-D493-0248-84A1-3307B141E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079903-BBE1-444C-BA56-1EE19040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F08F49-0018-894A-B2B3-3C5CDB861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5886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ank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45752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94457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FC7E27-D871-8949-9F84-A0609968C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3785C-D633-4C44-AC92-BDEB3F834037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3CB020-10CB-D247-9419-79BE5850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D25391D-0555-F04A-AD64-9D10509B6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09CE8B-E861-8540-998D-CA8F3DC4D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18717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C83506-EC7E-5F4F-9866-B9EA42BE1A48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2336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204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3A1C0D48-6745-44FE-81AC-9E3EB1E2DEC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2336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2FA97E8-4519-4739-B895-55612F78257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B5432D3A-C3C9-4B63-96CD-241A721F138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8204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36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04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CE95CF4-5CBF-4291-A2EE-D5DE9E6B9D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36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5D1BABBE-6978-4D02-8163-974D5CE637C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638213F-5B32-4E08-8CF4-7C45D4AFBD8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204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45441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1" cy="6096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5718000" y="60966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C9BF2E3-EA9C-7F4B-9DDD-A42D8C853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13BE3CBF-B0C1-964C-97A5-74D9CF1994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616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n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4FD4B-0143-44B2-AF27-F38BEA0C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377825"/>
            <a:ext cx="11436350" cy="8501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BFDAD9-6320-48A9-B45C-F84E2C983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BF03-830B-D644-B48B-9F693DBA2435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855E69-8D16-4484-9996-C9113A317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F07556-384E-4545-9AB5-A0F93C782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D95A2FD-1DC7-4D29-86A8-51D546E3A2C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13590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837F4A05-B3B3-429B-B6AF-4AAC8FF0B59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3147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7E5C1B1-79BD-4C2B-8DF6-AAAFDC31D4EA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2704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1A0F457-BA31-458F-B36F-869F673ADA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590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5C675381-77C0-419D-99B9-16471F4F9A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47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33EE2B0-3C6A-4F7E-BD70-00D5834A151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704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0F2B2CB-3337-458C-8742-CD64EDBB5A7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2261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06226EB7-DC79-4415-9F31-120925FC7DB0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9181800" y="1925638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8BD9D58A-9730-4689-82FF-3880AD4EB55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261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84FA9470-3E08-4A55-BB56-6A291847C1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81800" y="357623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74F72C97-0B91-4D13-BC93-502C0DDA63D5}"/>
              </a:ext>
            </a:extLst>
          </p:cNvPr>
          <p:cNvSpPr>
            <a:spLocks noGrp="1" noChangeAspect="1"/>
          </p:cNvSpPr>
          <p:nvPr>
            <p:ph type="pic" sz="quarter" idx="30"/>
          </p:nvPr>
        </p:nvSpPr>
        <p:spPr>
          <a:xfrm>
            <a:off x="13590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A834CB8-8309-40CC-85CB-E847DDFEAA88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33147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A434F088-0196-49C1-B53B-EC3AFBDEA6FB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2704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AFE4E092-B0F3-402B-9C53-055B7286B5B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3590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D0EEFE8D-FB7E-4184-B179-6802E6985B2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147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13E886F9-8EBE-418C-A9C2-637AD066021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704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4E3663E3-789A-40E1-BABF-D31E612525FE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72261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36EF7152-E16E-465A-A125-AF45D3A0E37A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181800" y="4053600"/>
            <a:ext cx="1650600" cy="1650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01E7611-82DD-4924-934D-F8701B5CD98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2261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5E1CA1F3-9B65-483E-B0E7-D4BB7ACD4FC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81800" y="5714188"/>
            <a:ext cx="1650600" cy="252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638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1"/>
            <a:ext cx="3600000" cy="137775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BCA7A-028F-D641-A757-F504556EABEE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D3EE21-B105-4761-ACD1-C5BEE2805B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14175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814175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908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F1B9233A-DF33-49E3-8950-75A72BB6AB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7600" y="4597200"/>
            <a:ext cx="3314400" cy="226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25" y="5004000"/>
            <a:ext cx="3600000" cy="1378495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6000" y="5004000"/>
            <a:ext cx="3600000" cy="13777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88776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B6F0F0A-4199-EB47-811A-FAE05B072B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2905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5419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7754" y="1387799"/>
            <a:ext cx="3596421" cy="12204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7F6FC-9C5A-8E4F-8F5D-F636A8B9F00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7754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8B7EDB-B996-BA42-902D-C20ED98AB6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9304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with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E7F3E19A-DFC7-42BB-8D77-9CC547ED6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17754" y="0"/>
            <a:ext cx="7200000" cy="638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C3E1F-B93C-43BE-95FC-0E6BE53D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1387800"/>
            <a:ext cx="3596421" cy="1221757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010F0D-A983-4160-86AD-209E0D3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519C7-09B2-174C-A471-73F88209E3BE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F525F3-B2B6-4542-956B-C67A77F16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E82B12-C03F-4C3B-A37D-2ABAB8B6D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B16427B-9B77-48C4-9A8F-FDA993BCA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2778919"/>
            <a:ext cx="3600000" cy="36028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5E94F0-46CB-FA4D-A7A8-113331E15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51003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and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F30EF0-1BA1-49CF-B35E-118E146B5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EA1EC1-92B2-184C-A2CA-ECD7FC77C3B1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08C3D-9B0C-4E74-9AB5-9E79B4458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ACBD4-335A-44B8-985A-019168B92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9767D4-6CBA-4EAD-AEB1-73F0D103F5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2" y="-3332"/>
            <a:ext cx="12192632" cy="6861331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4334 h 6862334"/>
              <a:gd name="connsiteX1" fmla="*/ 3826612 w 9144000"/>
              <a:gd name="connsiteY1" fmla="*/ 0 h 6862334"/>
              <a:gd name="connsiteX2" fmla="*/ 9144000 w 9144000"/>
              <a:gd name="connsiteY2" fmla="*/ 4334 h 6862334"/>
              <a:gd name="connsiteX3" fmla="*/ 9144000 w 9144000"/>
              <a:gd name="connsiteY3" fmla="*/ 6862334 h 6862334"/>
              <a:gd name="connsiteX4" fmla="*/ 0 w 9144000"/>
              <a:gd name="connsiteY4" fmla="*/ 6862334 h 6862334"/>
              <a:gd name="connsiteX5" fmla="*/ 0 w 9144000"/>
              <a:gd name="connsiteY5" fmla="*/ 4334 h 6862334"/>
              <a:gd name="connsiteX0" fmla="*/ 4334 w 9148334"/>
              <a:gd name="connsiteY0" fmla="*/ 4334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4334 w 9148334"/>
              <a:gd name="connsiteY6" fmla="*/ 4334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8607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8607 h 6862334"/>
              <a:gd name="connsiteX0" fmla="*/ 3826612 w 9148334"/>
              <a:gd name="connsiteY0" fmla="*/ 3744700 h 6862334"/>
              <a:gd name="connsiteX1" fmla="*/ 3830946 w 9148334"/>
              <a:gd name="connsiteY1" fmla="*/ 0 h 6862334"/>
              <a:gd name="connsiteX2" fmla="*/ 9148334 w 9148334"/>
              <a:gd name="connsiteY2" fmla="*/ 4334 h 6862334"/>
              <a:gd name="connsiteX3" fmla="*/ 9148334 w 9148334"/>
              <a:gd name="connsiteY3" fmla="*/ 6862334 h 6862334"/>
              <a:gd name="connsiteX4" fmla="*/ 4334 w 9148334"/>
              <a:gd name="connsiteY4" fmla="*/ 6862334 h 6862334"/>
              <a:gd name="connsiteX5" fmla="*/ 0 w 9148334"/>
              <a:gd name="connsiteY5" fmla="*/ 3744273 h 6862334"/>
              <a:gd name="connsiteX6" fmla="*/ 3826612 w 9148334"/>
              <a:gd name="connsiteY6" fmla="*/ 3744700 h 6862334"/>
              <a:gd name="connsiteX0" fmla="*/ 3822752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22752 w 9144474"/>
              <a:gd name="connsiteY6" fmla="*/ 3744700 h 6862334"/>
              <a:gd name="connsiteX0" fmla="*/ 3818844 w 9144474"/>
              <a:gd name="connsiteY0" fmla="*/ 3744700 h 6862334"/>
              <a:gd name="connsiteX1" fmla="*/ 3827086 w 9144474"/>
              <a:gd name="connsiteY1" fmla="*/ 0 h 6862334"/>
              <a:gd name="connsiteX2" fmla="*/ 9144474 w 9144474"/>
              <a:gd name="connsiteY2" fmla="*/ 4334 h 6862334"/>
              <a:gd name="connsiteX3" fmla="*/ 9144474 w 9144474"/>
              <a:gd name="connsiteY3" fmla="*/ 6862334 h 6862334"/>
              <a:gd name="connsiteX4" fmla="*/ 474 w 9144474"/>
              <a:gd name="connsiteY4" fmla="*/ 6862334 h 6862334"/>
              <a:gd name="connsiteX5" fmla="*/ 48 w 9144474"/>
              <a:gd name="connsiteY5" fmla="*/ 3744273 h 6862334"/>
              <a:gd name="connsiteX6" fmla="*/ 3818844 w 9144474"/>
              <a:gd name="connsiteY6" fmla="*/ 3744700 h 6862334"/>
              <a:gd name="connsiteX0" fmla="*/ 3818844 w 9144474"/>
              <a:gd name="connsiteY0" fmla="*/ 3740792 h 6858426"/>
              <a:gd name="connsiteX1" fmla="*/ 3819270 w 9144474"/>
              <a:gd name="connsiteY1" fmla="*/ 0 h 6858426"/>
              <a:gd name="connsiteX2" fmla="*/ 9144474 w 9144474"/>
              <a:gd name="connsiteY2" fmla="*/ 426 h 6858426"/>
              <a:gd name="connsiteX3" fmla="*/ 9144474 w 9144474"/>
              <a:gd name="connsiteY3" fmla="*/ 6858426 h 6858426"/>
              <a:gd name="connsiteX4" fmla="*/ 474 w 9144474"/>
              <a:gd name="connsiteY4" fmla="*/ 6858426 h 6858426"/>
              <a:gd name="connsiteX5" fmla="*/ 48 w 9144474"/>
              <a:gd name="connsiteY5" fmla="*/ 3740365 h 6858426"/>
              <a:gd name="connsiteX6" fmla="*/ 3818844 w 9144474"/>
              <a:gd name="connsiteY6" fmla="*/ 3740792 h 6858426"/>
              <a:gd name="connsiteX0" fmla="*/ 3818844 w 12163899"/>
              <a:gd name="connsiteY0" fmla="*/ 3740792 h 6858426"/>
              <a:gd name="connsiteX1" fmla="*/ 3819270 w 12163899"/>
              <a:gd name="connsiteY1" fmla="*/ 0 h 6858426"/>
              <a:gd name="connsiteX2" fmla="*/ 12163899 w 12163899"/>
              <a:gd name="connsiteY2" fmla="*/ 426 h 6858426"/>
              <a:gd name="connsiteX3" fmla="*/ 9144474 w 12163899"/>
              <a:gd name="connsiteY3" fmla="*/ 6858426 h 6858426"/>
              <a:gd name="connsiteX4" fmla="*/ 474 w 12163899"/>
              <a:gd name="connsiteY4" fmla="*/ 6858426 h 6858426"/>
              <a:gd name="connsiteX5" fmla="*/ 48 w 12163899"/>
              <a:gd name="connsiteY5" fmla="*/ 3740365 h 6858426"/>
              <a:gd name="connsiteX6" fmla="*/ 3818844 w 12163899"/>
              <a:gd name="connsiteY6" fmla="*/ 3740792 h 6858426"/>
              <a:gd name="connsiteX0" fmla="*/ 3818844 w 12192474"/>
              <a:gd name="connsiteY0" fmla="*/ 3740792 h 6858426"/>
              <a:gd name="connsiteX1" fmla="*/ 3819270 w 12192474"/>
              <a:gd name="connsiteY1" fmla="*/ 0 h 6858426"/>
              <a:gd name="connsiteX2" fmla="*/ 12163899 w 12192474"/>
              <a:gd name="connsiteY2" fmla="*/ 426 h 6858426"/>
              <a:gd name="connsiteX3" fmla="*/ 12192474 w 12192474"/>
              <a:gd name="connsiteY3" fmla="*/ 6858426 h 6858426"/>
              <a:gd name="connsiteX4" fmla="*/ 474 w 12192474"/>
              <a:gd name="connsiteY4" fmla="*/ 6858426 h 6858426"/>
              <a:gd name="connsiteX5" fmla="*/ 48 w 12192474"/>
              <a:gd name="connsiteY5" fmla="*/ 3740365 h 6858426"/>
              <a:gd name="connsiteX6" fmla="*/ 3818844 w 12192474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3696"/>
              <a:gd name="connsiteY0" fmla="*/ 3740792 h 6858426"/>
              <a:gd name="connsiteX1" fmla="*/ 3819270 w 12193696"/>
              <a:gd name="connsiteY1" fmla="*/ 0 h 6858426"/>
              <a:gd name="connsiteX2" fmla="*/ 12193696 w 12193696"/>
              <a:gd name="connsiteY2" fmla="*/ 426 h 6858426"/>
              <a:gd name="connsiteX3" fmla="*/ 12192474 w 12193696"/>
              <a:gd name="connsiteY3" fmla="*/ 6858426 h 6858426"/>
              <a:gd name="connsiteX4" fmla="*/ 474 w 12193696"/>
              <a:gd name="connsiteY4" fmla="*/ 6858426 h 6858426"/>
              <a:gd name="connsiteX5" fmla="*/ 48 w 12193696"/>
              <a:gd name="connsiteY5" fmla="*/ 3740365 h 6858426"/>
              <a:gd name="connsiteX6" fmla="*/ 3818844 w 12193696"/>
              <a:gd name="connsiteY6" fmla="*/ 3740792 h 6858426"/>
              <a:gd name="connsiteX0" fmla="*/ 3818844 w 12192508"/>
              <a:gd name="connsiteY0" fmla="*/ 3740792 h 6858426"/>
              <a:gd name="connsiteX1" fmla="*/ 3819270 w 12192508"/>
              <a:gd name="connsiteY1" fmla="*/ 0 h 6858426"/>
              <a:gd name="connsiteX2" fmla="*/ 12189971 w 12192508"/>
              <a:gd name="connsiteY2" fmla="*/ 426 h 6858426"/>
              <a:gd name="connsiteX3" fmla="*/ 12192474 w 12192508"/>
              <a:gd name="connsiteY3" fmla="*/ 6858426 h 6858426"/>
              <a:gd name="connsiteX4" fmla="*/ 474 w 12192508"/>
              <a:gd name="connsiteY4" fmla="*/ 6858426 h 6858426"/>
              <a:gd name="connsiteX5" fmla="*/ 48 w 12192508"/>
              <a:gd name="connsiteY5" fmla="*/ 3740365 h 6858426"/>
              <a:gd name="connsiteX6" fmla="*/ 3818844 w 12192508"/>
              <a:gd name="connsiteY6" fmla="*/ 3740792 h 6858426"/>
              <a:gd name="connsiteX0" fmla="*/ 3818844 w 12192633"/>
              <a:gd name="connsiteY0" fmla="*/ 3740792 h 6858426"/>
              <a:gd name="connsiteX1" fmla="*/ 3819270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3818844 w 12192633"/>
              <a:gd name="connsiteY0" fmla="*/ 3740366 h 6858000"/>
              <a:gd name="connsiteX1" fmla="*/ 4590795 w 12192633"/>
              <a:gd name="connsiteY1" fmla="*/ 9099 h 6858000"/>
              <a:gd name="connsiteX2" fmla="*/ 12192633 w 12192633"/>
              <a:gd name="connsiteY2" fmla="*/ 0 h 6858000"/>
              <a:gd name="connsiteX3" fmla="*/ 12192474 w 12192633"/>
              <a:gd name="connsiteY3" fmla="*/ 6858000 h 6858000"/>
              <a:gd name="connsiteX4" fmla="*/ 474 w 12192633"/>
              <a:gd name="connsiteY4" fmla="*/ 6858000 h 6858000"/>
              <a:gd name="connsiteX5" fmla="*/ 48 w 12192633"/>
              <a:gd name="connsiteY5" fmla="*/ 3739939 h 6858000"/>
              <a:gd name="connsiteX6" fmla="*/ 3818844 w 12192633"/>
              <a:gd name="connsiteY6" fmla="*/ 3740366 h 6858000"/>
              <a:gd name="connsiteX0" fmla="*/ 3818844 w 12192633"/>
              <a:gd name="connsiteY0" fmla="*/ 374079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3818844 w 12192633"/>
              <a:gd name="connsiteY6" fmla="*/ 3740792 h 6858426"/>
              <a:gd name="connsiteX0" fmla="*/ 4590369 w 12192633"/>
              <a:gd name="connsiteY0" fmla="*/ 4026542 h 6858426"/>
              <a:gd name="connsiteX1" fmla="*/ 4590795 w 12192633"/>
              <a:gd name="connsiteY1" fmla="*/ 0 h 6858426"/>
              <a:gd name="connsiteX2" fmla="*/ 12192633 w 12192633"/>
              <a:gd name="connsiteY2" fmla="*/ 426 h 6858426"/>
              <a:gd name="connsiteX3" fmla="*/ 12192474 w 12192633"/>
              <a:gd name="connsiteY3" fmla="*/ 6858426 h 6858426"/>
              <a:gd name="connsiteX4" fmla="*/ 474 w 12192633"/>
              <a:gd name="connsiteY4" fmla="*/ 6858426 h 6858426"/>
              <a:gd name="connsiteX5" fmla="*/ 48 w 12192633"/>
              <a:gd name="connsiteY5" fmla="*/ 3740365 h 6858426"/>
              <a:gd name="connsiteX6" fmla="*/ 4590369 w 12192633"/>
              <a:gd name="connsiteY6" fmla="*/ 4026542 h 6858426"/>
              <a:gd name="connsiteX0" fmla="*/ 4590017 w 12192281"/>
              <a:gd name="connsiteY0" fmla="*/ 4026542 h 6858426"/>
              <a:gd name="connsiteX1" fmla="*/ 4590443 w 12192281"/>
              <a:gd name="connsiteY1" fmla="*/ 0 h 6858426"/>
              <a:gd name="connsiteX2" fmla="*/ 12192281 w 12192281"/>
              <a:gd name="connsiteY2" fmla="*/ 426 h 6858426"/>
              <a:gd name="connsiteX3" fmla="*/ 12192122 w 12192281"/>
              <a:gd name="connsiteY3" fmla="*/ 6858426 h 6858426"/>
              <a:gd name="connsiteX4" fmla="*/ 122 w 12192281"/>
              <a:gd name="connsiteY4" fmla="*/ 6858426 h 6858426"/>
              <a:gd name="connsiteX5" fmla="*/ 9221 w 12192281"/>
              <a:gd name="connsiteY5" fmla="*/ 4054690 h 6858426"/>
              <a:gd name="connsiteX6" fmla="*/ 4590017 w 12192281"/>
              <a:gd name="connsiteY6" fmla="*/ 4026542 h 6858426"/>
              <a:gd name="connsiteX0" fmla="*/ 4590368 w 12192632"/>
              <a:gd name="connsiteY0" fmla="*/ 402654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26542 h 6858426"/>
              <a:gd name="connsiteX0" fmla="*/ 4590368 w 12192632"/>
              <a:gd name="connsiteY0" fmla="*/ 403606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36067 h 6858426"/>
              <a:gd name="connsiteX0" fmla="*/ 4590368 w 12192632"/>
              <a:gd name="connsiteY0" fmla="*/ 4045592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5592 h 6858426"/>
              <a:gd name="connsiteX0" fmla="*/ 4590368 w 12192632"/>
              <a:gd name="connsiteY0" fmla="*/ 4055117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55117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54690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4696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90794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90368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90368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1793 h 6858426"/>
              <a:gd name="connsiteX1" fmla="*/ 4587462 w 12192632"/>
              <a:gd name="connsiteY1" fmla="*/ 0 h 6858426"/>
              <a:gd name="connsiteX2" fmla="*/ 12192632 w 12192632"/>
              <a:gd name="connsiteY2" fmla="*/ 426 h 6858426"/>
              <a:gd name="connsiteX3" fmla="*/ 12192473 w 12192632"/>
              <a:gd name="connsiteY3" fmla="*/ 6858426 h 6858426"/>
              <a:gd name="connsiteX4" fmla="*/ 473 w 12192632"/>
              <a:gd name="connsiteY4" fmla="*/ 6858426 h 6858426"/>
              <a:gd name="connsiteX5" fmla="*/ 47 w 12192632"/>
              <a:gd name="connsiteY5" fmla="*/ 4041365 h 6858426"/>
              <a:gd name="connsiteX6" fmla="*/ 4587036 w 12192632"/>
              <a:gd name="connsiteY6" fmla="*/ 4041793 h 6858426"/>
              <a:gd name="connsiteX0" fmla="*/ 4587036 w 12192632"/>
              <a:gd name="connsiteY0" fmla="*/ 4044698 h 6861331"/>
              <a:gd name="connsiteX1" fmla="*/ 4587462 w 12192632"/>
              <a:gd name="connsiteY1" fmla="*/ 2905 h 6861331"/>
              <a:gd name="connsiteX2" fmla="*/ 12192632 w 12192632"/>
              <a:gd name="connsiteY2" fmla="*/ 0 h 6861331"/>
              <a:gd name="connsiteX3" fmla="*/ 12192473 w 12192632"/>
              <a:gd name="connsiteY3" fmla="*/ 6861331 h 6861331"/>
              <a:gd name="connsiteX4" fmla="*/ 473 w 12192632"/>
              <a:gd name="connsiteY4" fmla="*/ 6861331 h 6861331"/>
              <a:gd name="connsiteX5" fmla="*/ 47 w 12192632"/>
              <a:gd name="connsiteY5" fmla="*/ 4044270 h 6861331"/>
              <a:gd name="connsiteX6" fmla="*/ 4587036 w 12192632"/>
              <a:gd name="connsiteY6" fmla="*/ 4044698 h 6861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632" h="6861331">
                <a:moveTo>
                  <a:pt x="4587036" y="4044698"/>
                </a:moveTo>
                <a:cubicBezTo>
                  <a:pt x="4588481" y="2795162"/>
                  <a:pt x="4586017" y="1252441"/>
                  <a:pt x="4587462" y="2905"/>
                </a:cubicBezTo>
                <a:lnTo>
                  <a:pt x="12192632" y="0"/>
                </a:lnTo>
                <a:cubicBezTo>
                  <a:pt x="12192225" y="2286000"/>
                  <a:pt x="12192880" y="4575331"/>
                  <a:pt x="12192473" y="6861331"/>
                </a:cubicBezTo>
                <a:lnTo>
                  <a:pt x="473" y="6861331"/>
                </a:lnTo>
                <a:cubicBezTo>
                  <a:pt x="-972" y="5821977"/>
                  <a:pt x="1492" y="5083624"/>
                  <a:pt x="47" y="4044270"/>
                </a:cubicBezTo>
                <a:lnTo>
                  <a:pt x="4587036" y="40446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7F807A-F369-4FBC-B5EB-675732DA4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8" y="377826"/>
            <a:ext cx="3860802" cy="305117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0031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7000A8D-916B-6A46-A8CB-3E48942EBD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77A01-E9E8-0346-87B6-A50C0F85A296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84297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5F0808-BBA3-3A41-B407-560B02C099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BC71C-5BC4-4448-9864-CA26E655EAFE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778458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bg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3628C8-BDEC-4C4C-BE6D-FF9ED0F5B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064" y="142876"/>
            <a:ext cx="2080060" cy="9392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7E39A4D-45C0-614F-BA3D-48CE68D5EA38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7113025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4932000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E57F7F5-FC77-425E-A2A6-DDD1D50110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57175" y="377825"/>
            <a:ext cx="5157000" cy="3981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A93B3-E055-4858-9A45-84EE75DE5C27}"/>
              </a:ext>
            </a:extLst>
          </p:cNvPr>
          <p:cNvSpPr/>
          <p:nvPr userDrawn="1"/>
        </p:nvSpPr>
        <p:spPr>
          <a:xfrm>
            <a:off x="11814175" y="-175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C4595B4-A431-E645-B62F-FD05F8FF8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89F9C1-FA19-D240-83AC-6F6609C15122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150329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2600" y="4950000"/>
            <a:ext cx="2629000" cy="1431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8680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600" y="894600"/>
            <a:ext cx="5270400" cy="405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3914600" y="457380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FD26272-1046-C440-83DF-DE260B8CF8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ADD38CF-8BDA-4241-92C2-0DB8F25A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6830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2952000"/>
            <a:ext cx="9445752" cy="1503000"/>
          </a:xfrm>
        </p:spPr>
        <p:txBody>
          <a:bodyPr anchor="t"/>
          <a:lstStyle>
            <a:lvl1pPr algn="l">
              <a:defRPr sz="57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5011200"/>
            <a:ext cx="3607594" cy="137055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1200" b="1">
                <a:solidFill>
                  <a:schemeClr val="accent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2807F74-89C1-C74A-9216-F45E8CF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D2148A-3978-D24D-BAB5-940EE414094B}"/>
              </a:ext>
            </a:extLst>
          </p:cNvPr>
          <p:cNvSpPr txBox="1"/>
          <p:nvPr userDrawn="1"/>
        </p:nvSpPr>
        <p:spPr>
          <a:xfrm>
            <a:off x="377825" y="6481574"/>
            <a:ext cx="420628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Copyright © 2022 Merck &amp; Co., Inc., Rahway, NJ, USA and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856367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05570-C002-6A4D-8BF8-3DBE2A5A424A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79706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1E205-D763-B848-ACFA-ED6174246933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8CCCD6-443C-8B44-878A-06CB094BC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6769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812C503-F4FA-E449-82E7-E8589FB68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44950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4DE5F6E-0235-224E-8AA4-87B78D2BDF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8076" y="2147778"/>
            <a:ext cx="5556650" cy="250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71199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 Slid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CC95244-134A-B743-9347-7EB93D327E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76" y="2147777"/>
            <a:ext cx="5556650" cy="250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92874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rk_ifl_lg_rgb_dkgry_ppt.png"/>
          <p:cNvPicPr>
            <a:picLocks noChangeAspect="1"/>
          </p:cNvPicPr>
          <p:nvPr userDrawn="1"/>
        </p:nvPicPr>
        <p:blipFill>
          <a:blip r:embed="rId2"/>
          <a:srcRect l="8299" t="21858" r="7054" b="21311"/>
          <a:stretch>
            <a:fillRect/>
          </a:stretch>
        </p:blipFill>
        <p:spPr>
          <a:xfrm>
            <a:off x="8516025" y="6194424"/>
            <a:ext cx="2195132" cy="559129"/>
          </a:xfrm>
          <a:prstGeom prst="rect">
            <a:avLst/>
          </a:prstGeom>
        </p:spPr>
      </p:pic>
      <p:pic>
        <p:nvPicPr>
          <p:cNvPr id="8" name="Picture 2" descr="C:\Users\Forringr\AppData\Local\Microsoft\Windows\Temporary Internet Files\Content.Outlook\WRMKZ3N8\MGCDA_ICON_NEW TA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545" y="6261034"/>
            <a:ext cx="1133192" cy="49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4810439" y="6292349"/>
            <a:ext cx="151597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Global </a:t>
            </a:r>
          </a:p>
          <a:p>
            <a:pPr algn="r"/>
            <a:r>
              <a:rPr lang="en-US" sz="1400" b="1" kern="600" spc="30" dirty="0">
                <a:solidFill>
                  <a:schemeClr val="accent2"/>
                </a:solidFill>
              </a:rPr>
              <a:t>Analytics</a:t>
            </a:r>
          </a:p>
        </p:txBody>
      </p:sp>
      <p:pic>
        <p:nvPicPr>
          <p:cNvPr id="15" name="bjClassifierImageBottom">
            <a:extLst>
              <a:ext uri="{FF2B5EF4-FFF2-40B4-BE49-F238E27FC236}">
                <a16:creationId xmlns:a16="http://schemas.microsoft.com/office/drawing/2014/main" id="{A61F3296-3A60-48B0-8597-AC5CDC2A42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6468336"/>
            <a:ext cx="792549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97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RK_FirstPag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4" y="1185905"/>
            <a:ext cx="9298822" cy="2239920"/>
          </a:xfrm>
        </p:spPr>
        <p:txBody>
          <a:bodyPr/>
          <a:lstStyle>
            <a:lvl1pPr>
              <a:lnSpc>
                <a:spcPct val="78000"/>
              </a:lnSpc>
              <a:defRPr sz="4200" cap="all" spc="13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55" y="5628837"/>
            <a:ext cx="4801849" cy="619563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000" spc="3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374232"/>
            <a:ext cx="2581947" cy="189351"/>
          </a:xfrm>
        </p:spPr>
        <p:txBody>
          <a:bodyPr/>
          <a:lstStyle>
            <a:lvl1pPr>
              <a:defRPr sz="1400" spc="3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13323609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divider – Warm Gra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RK_SubDivider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ltGray">
          <a:xfrm>
            <a:off x="-9211" y="-4858"/>
            <a:ext cx="12210420" cy="68677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256205"/>
            <a:ext cx="6570528" cy="2345590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3600" b="0" cap="none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rgbClr val="000000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93462" y="5977662"/>
            <a:ext cx="4835583" cy="789128"/>
            <a:chOff x="222030" y="5963374"/>
            <a:chExt cx="4834324" cy="78912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30" y="5963374"/>
              <a:ext cx="789128" cy="789128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1053624" y="6019384"/>
              <a:ext cx="4002730" cy="67710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2000" b="1" u="sng" kern="600" spc="30" dirty="0">
                  <a:solidFill>
                    <a:schemeClr val="tx1"/>
                  </a:solidFill>
                  <a:uFill>
                    <a:solidFill>
                      <a:schemeClr val="accent2"/>
                    </a:solidFill>
                  </a:uFill>
                </a:rPr>
                <a:t>CUSTOMER &amp; DATA ANALYTICS</a:t>
              </a:r>
            </a:p>
            <a:p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king </a:t>
              </a:r>
              <a:r>
                <a:rPr lang="en-US" sz="2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IG</a:t>
              </a:r>
              <a:r>
                <a:rPr lang="en-US" sz="18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ta </a:t>
              </a:r>
              <a:r>
                <a:rPr lang="en-US" sz="1400" b="1" kern="600" spc="3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6592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>
            <a:extLst>
              <a:ext uri="{FF2B5EF4-FFF2-40B4-BE49-F238E27FC236}">
                <a16:creationId xmlns:a16="http://schemas.microsoft.com/office/drawing/2014/main" id="{C477063E-CAEB-7D03-A6EB-EF34373B869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42317" y="304800"/>
            <a:ext cx="33867" cy="5956300"/>
          </a:xfrm>
          <a:prstGeom prst="line">
            <a:avLst/>
          </a:prstGeom>
          <a:noFill/>
          <a:ln w="25400">
            <a:solidFill>
              <a:srgbClr val="009999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/>
          </a:p>
        </p:txBody>
      </p:sp>
      <p:graphicFrame>
        <p:nvGraphicFramePr>
          <p:cNvPr id="3" name="Object 3">
            <a:extLst>
              <a:ext uri="{FF2B5EF4-FFF2-40B4-BE49-F238E27FC236}">
                <a16:creationId xmlns:a16="http://schemas.microsoft.com/office/drawing/2014/main" id="{4B247AFD-FEAD-F673-3079-7000F2032F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59818" y="1068388"/>
          <a:ext cx="3363383" cy="76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icture" r:id="rId2" imgW="3373438" imgH="1017588" progId="Word.Picture.8">
                  <p:embed/>
                </p:oleObj>
              </mc:Choice>
              <mc:Fallback>
                <p:oleObj name="Picture" r:id="rId2" imgW="3373438" imgH="1017588" progId="Word.Picture.8">
                  <p:embed/>
                  <p:pic>
                    <p:nvPicPr>
                      <p:cNvPr id="3" name="Object 3">
                        <a:extLst>
                          <a:ext uri="{FF2B5EF4-FFF2-40B4-BE49-F238E27FC236}">
                            <a16:creationId xmlns:a16="http://schemas.microsoft.com/office/drawing/2014/main" id="{4B247AFD-FEAD-F673-3079-7000F2032F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9818" y="1068388"/>
                        <a:ext cx="3363383" cy="76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5193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107064-D3CA-49F7-8E72-46608079AF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38600" y="3384000"/>
            <a:ext cx="1913400" cy="1683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5" y="1228725"/>
            <a:ext cx="4932729" cy="2200275"/>
          </a:xfrm>
        </p:spPr>
        <p:txBody>
          <a:bodyPr anchor="b"/>
          <a:lstStyle>
            <a:lvl1pPr algn="l">
              <a:defRPr sz="425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682800"/>
            <a:ext cx="4932729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(month/day/year)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46E6AF0-C66B-4B32-964D-86B588C01D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2000" y="0"/>
            <a:ext cx="4140000" cy="3384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1C85666-16D6-4604-851C-B7A185B1DF28}"/>
              </a:ext>
            </a:extLst>
          </p:cNvPr>
          <p:cNvSpPr/>
          <p:nvPr userDrawn="1"/>
        </p:nvSpPr>
        <p:spPr>
          <a:xfrm>
            <a:off x="7674000" y="6003750"/>
            <a:ext cx="378000" cy="37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2C68CA-982E-4DE8-82EB-BF63660F9C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2000" y="5067000"/>
            <a:ext cx="1351800" cy="9367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4940B72-A25F-DD4E-B080-EF804C93C3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A9217C54-93DD-8E47-A23F-F97CF894E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8770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EDEA763-B2AB-68CF-B447-2901F6AC4AA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8C1B3F-3110-4037-A9CD-B0AA591C6C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00958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60050EE-865A-1123-5546-A66F92621C9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35578A-FFD5-42A5-9949-8E0D4DB017B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53283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E6DB07-AA27-9998-1B6C-69551245257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89D376-3BFD-4829-8560-AB2CE8AF8E5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005715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672D9CF-2960-CA08-46EC-12A7C9A5920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6E94B7-DDDA-458F-919C-15F5D7F0273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8705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E605CC5-ADBE-CBE4-D2E7-0540C8BDC16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047664-89CD-49D1-8F45-414C74406B3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98122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D24A534-B496-7B66-5D49-5CDB17DD67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406C63-3835-4AE8-9282-7629EACC99A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34704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38B614-285F-C5B8-FEAB-AFED56C072C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447D3-D1AB-468D-BB4D-01E0AE0BA6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955094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BD3A62-2260-692A-975A-E516AA0BF05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2209AC-7D88-4E94-A645-CE101CF0B9C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0506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4AE44CA-E0D4-AEFE-E21C-1791BEF6380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1E8D0E-9A85-411A-A413-168C297A908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77305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1533" y="87314"/>
            <a:ext cx="2904067" cy="60848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333" y="87314"/>
            <a:ext cx="8509000" cy="60848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BF790A8-87F3-22B1-E279-A6690EFAA4A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FACECD-69C7-4984-BF7A-7B1F9A97D55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0619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824" y="1228725"/>
            <a:ext cx="9445752" cy="2200275"/>
          </a:xfrm>
        </p:spPr>
        <p:txBody>
          <a:bodyPr anchor="b"/>
          <a:lstStyle>
            <a:lvl1pPr algn="l">
              <a:defRPr sz="4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824" y="3682800"/>
            <a:ext cx="9445752" cy="2200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9BCDAA-3E86-4330-AE34-33DA3205B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7825" y="6174001"/>
            <a:ext cx="3607594" cy="2077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3081D7-228C-7F4B-B2F0-F8F6D2CAB5B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21D473B-03CC-A840-9172-E75A8523C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64" y="142875"/>
            <a:ext cx="2080060" cy="93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3693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6400" y="1371600"/>
            <a:ext cx="11379200" cy="48006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B7E489A-EDDB-683C-B456-0CEFBF455B3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47CF3D-84EC-4FDF-8FCC-0F827F36750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92626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10046AD-F425-C432-57DF-096B5E36D43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7387-3260-44C0-B6E1-8034DE6942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80759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06400" y="1371600"/>
            <a:ext cx="55880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46B8F438-440A-6378-8F52-4573FD8A1B3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DC38B0-D1D0-4E0C-8A1E-A7E14399D7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21509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69333" y="87314"/>
            <a:ext cx="9448800" cy="695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064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3716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064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848100"/>
            <a:ext cx="55880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EDC8879-2F92-564E-D923-32B4EB3CADE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33CDF6-48B6-485D-9DA8-A6DEBCF996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8213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877B-9B68-6D4A-BCF8-960EAC37048D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6988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2" y="1925636"/>
            <a:ext cx="2104845" cy="445611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2599" y="1925636"/>
            <a:ext cx="7521575" cy="4456111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/>
            </a:lvl1pPr>
            <a:lvl2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>
                <a:solidFill>
                  <a:schemeClr val="bg1">
                    <a:lumMod val="85000"/>
                  </a:schemeClr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Font typeface="+mj-lt"/>
              <a:buAutoNum type="arabicPeriod"/>
              <a:defRPr sz="1600" b="1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2286A-215E-1447-8183-44810891358B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C476A1C-450C-4513-925D-8391EFA2E70F}"/>
              </a:ext>
            </a:extLst>
          </p:cNvPr>
          <p:cNvCxnSpPr/>
          <p:nvPr userDrawn="1"/>
        </p:nvCxnSpPr>
        <p:spPr>
          <a:xfrm>
            <a:off x="3051313" y="516835"/>
            <a:ext cx="0" cy="59633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79248C1-85D6-0A41-9196-18D936195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17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4" y="377825"/>
            <a:ext cx="11439144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fld id="{05972683-51EE-5F41-850D-F4F103575C34}" type="datetime4">
              <a:rPr lang="en-US" smtClean="0"/>
              <a:t>September 27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none" baseline="0">
                <a:solidFill>
                  <a:srgbClr val="9EA7B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8B2952-F7B1-FB4B-A859-8048BF0DBB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4904" y="1929384"/>
            <a:ext cx="11439144" cy="44531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0"/>
              </a:spcBef>
              <a:spcAft>
                <a:spcPts val="1600"/>
              </a:spcAft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  <a:spcAft>
                <a:spcPts val="1600"/>
              </a:spcAft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  <a:spcAft>
                <a:spcPts val="1600"/>
              </a:spcAft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  <a:spcAft>
                <a:spcPts val="1600"/>
              </a:spcAft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  <a:spcAft>
                <a:spcPts val="1600"/>
              </a:spcAft>
            </a:pPr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0E875C-199D-1849-9C39-2C6C19A6CF5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607040" y="6364224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6AA26BA-D8B4-4593-8CCC-FC18C6E052F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  <a:endParaRPr lang="en-US" sz="1200" dirty="0">
              <a:solidFill>
                <a:srgbClr val="00B2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04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722" r:id="rId8"/>
    <p:sldLayoutId id="2147483723" r:id="rId9"/>
    <p:sldLayoutId id="2147483676" r:id="rId10"/>
    <p:sldLayoutId id="2147483721" r:id="rId11"/>
    <p:sldLayoutId id="2147483724" r:id="rId12"/>
    <p:sldLayoutId id="2147483710" r:id="rId13"/>
    <p:sldLayoutId id="2147483709" r:id="rId14"/>
    <p:sldLayoutId id="2147483691" r:id="rId15"/>
    <p:sldLayoutId id="2147483729" r:id="rId16"/>
    <p:sldLayoutId id="2147483725" r:id="rId17"/>
    <p:sldLayoutId id="2147483701" r:id="rId18"/>
    <p:sldLayoutId id="2147483702" r:id="rId19"/>
    <p:sldLayoutId id="2147483726" r:id="rId20"/>
    <p:sldLayoutId id="2147483728" r:id="rId21"/>
    <p:sldLayoutId id="2147483727" r:id="rId22"/>
    <p:sldLayoutId id="2147483730" r:id="rId23"/>
    <p:sldLayoutId id="2147483731" r:id="rId24"/>
    <p:sldLayoutId id="2147483700" r:id="rId25"/>
    <p:sldLayoutId id="2147483705" r:id="rId26"/>
    <p:sldLayoutId id="2147483704" r:id="rId27"/>
    <p:sldLayoutId id="2147483706" r:id="rId28"/>
    <p:sldLayoutId id="2147483707" r:id="rId29"/>
    <p:sldLayoutId id="2147483703" r:id="rId30"/>
    <p:sldLayoutId id="2147483696" r:id="rId31"/>
    <p:sldLayoutId id="2147483695" r:id="rId32"/>
    <p:sldLayoutId id="2147483697" r:id="rId33"/>
    <p:sldLayoutId id="2147483675" r:id="rId34"/>
    <p:sldLayoutId id="2147483692" r:id="rId35"/>
    <p:sldLayoutId id="2147483693" r:id="rId36"/>
    <p:sldLayoutId id="2147483698" r:id="rId37"/>
    <p:sldLayoutId id="2147483699" r:id="rId38"/>
    <p:sldLayoutId id="2147483689" r:id="rId39"/>
    <p:sldLayoutId id="2147483690" r:id="rId40"/>
    <p:sldLayoutId id="2147483711" r:id="rId41"/>
    <p:sldLayoutId id="2147483715" r:id="rId42"/>
    <p:sldLayoutId id="2147483712" r:id="rId43"/>
    <p:sldLayoutId id="2147483713" r:id="rId44"/>
    <p:sldLayoutId id="2147483714" r:id="rId45"/>
    <p:sldLayoutId id="2147483718" r:id="rId46"/>
    <p:sldLayoutId id="2147483716" r:id="rId47"/>
    <p:sldLayoutId id="2147483717" r:id="rId48"/>
    <p:sldLayoutId id="2147483720" r:id="rId49"/>
    <p:sldLayoutId id="2147483719" r:id="rId50"/>
    <p:sldLayoutId id="2147483678" r:id="rId51"/>
    <p:sldLayoutId id="2147483679" r:id="rId52"/>
    <p:sldLayoutId id="2147483732" r:id="rId53"/>
    <p:sldLayoutId id="2147483733" r:id="rId54"/>
    <p:sldLayoutId id="2147483734" r:id="rId55"/>
    <p:sldLayoutId id="2147483735" r:id="rId56"/>
    <p:sldLayoutId id="2147483738" r:id="rId57"/>
    <p:sldLayoutId id="2147483739" r:id="rId5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5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9250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81025" indent="-1158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lang="en-US" sz="1200" b="1" kern="1200" dirty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lang="en-US" sz="3000" kern="1200" dirty="0">
          <a:solidFill>
            <a:schemeClr val="accent1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38" userDrawn="1">
          <p15:clr>
            <a:srgbClr val="F26B43"/>
          </p15:clr>
        </p15:guide>
        <p15:guide id="4" pos="2511" userDrawn="1">
          <p15:clr>
            <a:srgbClr val="F26B43"/>
          </p15:clr>
        </p15:guide>
        <p15:guide id="5" pos="2704" userDrawn="1">
          <p15:clr>
            <a:srgbClr val="F26B43"/>
          </p15:clr>
        </p15:guide>
        <p15:guide id="6" pos="4977" userDrawn="1">
          <p15:clr>
            <a:srgbClr val="F26B43"/>
          </p15:clr>
        </p15:guide>
        <p15:guide id="7" pos="5169" userDrawn="1">
          <p15:clr>
            <a:srgbClr val="F26B43"/>
          </p15:clr>
        </p15:guide>
        <p15:guide id="8" pos="7442" userDrawn="1">
          <p15:clr>
            <a:srgbClr val="F26B43"/>
          </p15:clr>
        </p15:guide>
        <p15:guide id="9" orient="horz" pos="238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orient="horz" pos="1751" userDrawn="1">
          <p15:clr>
            <a:srgbClr val="F26B43"/>
          </p15:clr>
        </p15:guide>
        <p15:guide id="12" orient="horz" pos="1213" userDrawn="1">
          <p15:clr>
            <a:srgbClr val="F26B43"/>
          </p15:clr>
        </p15:guide>
        <p15:guide id="13" orient="horz" pos="7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8218822E-D2A3-4DE6-9413-06AB7E9C7B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69333" y="87314"/>
            <a:ext cx="94488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31F5F01-A244-2938-3028-2BC8D445392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371600"/>
            <a:ext cx="113792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19812" name="Rectangle 4">
            <a:extLst>
              <a:ext uri="{FF2B5EF4-FFF2-40B4-BE49-F238E27FC236}">
                <a16:creationId xmlns:a16="http://schemas.microsoft.com/office/drawing/2014/main" id="{FBFF05DC-D91B-A762-19F6-5E33AAFBA4B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2400" y="6553200"/>
            <a:ext cx="609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36D42897-4470-4722-8C9F-E11D3D663195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029" name="Line 5">
            <a:extLst>
              <a:ext uri="{FF2B5EF4-FFF2-40B4-BE49-F238E27FC236}">
                <a16:creationId xmlns:a16="http://schemas.microsoft.com/office/drawing/2014/main" id="{B8F76071-635B-AE50-A9F5-DF4342F6D5A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04800" y="863600"/>
            <a:ext cx="11582400" cy="0"/>
          </a:xfrm>
          <a:prstGeom prst="line">
            <a:avLst/>
          </a:prstGeom>
          <a:noFill/>
          <a:ln w="28575">
            <a:solidFill>
              <a:srgbClr val="00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1" name="AutoShape 14">
            <a:extLst>
              <a:ext uri="{FF2B5EF4-FFF2-40B4-BE49-F238E27FC236}">
                <a16:creationId xmlns:a16="http://schemas.microsoft.com/office/drawing/2014/main" id="{9BE0461F-DB49-6DBE-3370-60FCE435FE2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464800" y="3175"/>
            <a:ext cx="1625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900"/>
          </a:p>
        </p:txBody>
      </p:sp>
      <p:sp>
        <p:nvSpPr>
          <p:cNvPr id="1033" name="Rectangle 27">
            <a:extLst>
              <a:ext uri="{FF2B5EF4-FFF2-40B4-BE49-F238E27FC236}">
                <a16:creationId xmlns:a16="http://schemas.microsoft.com/office/drawing/2014/main" id="{4464B6D4-37B8-1531-B709-C7773607E1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0" y="566739"/>
            <a:ext cx="1346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</a:t>
            </a:r>
            <a:endParaRPr lang="en-US" altLang="en-US" sz="900" b="0"/>
          </a:p>
        </p:txBody>
      </p:sp>
      <p:grpSp>
        <p:nvGrpSpPr>
          <p:cNvPr id="1034" name="Group 33">
            <a:extLst>
              <a:ext uri="{FF2B5EF4-FFF2-40B4-BE49-F238E27FC236}">
                <a16:creationId xmlns:a16="http://schemas.microsoft.com/office/drawing/2014/main" id="{35AC038B-8A57-774F-C152-95D8F3135B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598151" y="538163"/>
            <a:ext cx="281516" cy="176212"/>
            <a:chOff x="5007" y="339"/>
            <a:chExt cx="133" cy="111"/>
          </a:xfrm>
        </p:grpSpPr>
        <p:sp>
          <p:nvSpPr>
            <p:cNvPr id="1065" name="Freeform 28">
              <a:extLst>
                <a:ext uri="{FF2B5EF4-FFF2-40B4-BE49-F238E27FC236}">
                  <a16:creationId xmlns:a16="http://schemas.microsoft.com/office/drawing/2014/main" id="{4EB76EEA-8F13-6E9A-F818-D9430E9AF9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39"/>
              <a:ext cx="133" cy="111"/>
            </a:xfrm>
            <a:custGeom>
              <a:avLst/>
              <a:gdLst>
                <a:gd name="T0" fmla="*/ 0 w 4800"/>
                <a:gd name="T1" fmla="*/ 21 h 4000"/>
                <a:gd name="T2" fmla="*/ 7 w 4800"/>
                <a:gd name="T3" fmla="*/ 14 h 4000"/>
                <a:gd name="T4" fmla="*/ 119 w 4800"/>
                <a:gd name="T5" fmla="*/ 14 h 4000"/>
                <a:gd name="T6" fmla="*/ 119 w 4800"/>
                <a:gd name="T7" fmla="*/ 7 h 4000"/>
                <a:gd name="T8" fmla="*/ 126 w 4800"/>
                <a:gd name="T9" fmla="*/ 0 h 4000"/>
                <a:gd name="T10" fmla="*/ 133 w 4800"/>
                <a:gd name="T11" fmla="*/ 7 h 4000"/>
                <a:gd name="T12" fmla="*/ 133 w 4800"/>
                <a:gd name="T13" fmla="*/ 90 h 4000"/>
                <a:gd name="T14" fmla="*/ 126 w 4800"/>
                <a:gd name="T15" fmla="*/ 97 h 4000"/>
                <a:gd name="T16" fmla="*/ 14 w 4800"/>
                <a:gd name="T17" fmla="*/ 97 h 4000"/>
                <a:gd name="T18" fmla="*/ 14 w 4800"/>
                <a:gd name="T19" fmla="*/ 104 h 4000"/>
                <a:gd name="T20" fmla="*/ 7 w 4800"/>
                <a:gd name="T21" fmla="*/ 111 h 4000"/>
                <a:gd name="T22" fmla="*/ 0 w 4800"/>
                <a:gd name="T23" fmla="*/ 104 h 4000"/>
                <a:gd name="T24" fmla="*/ 0 w 4800"/>
                <a:gd name="T25" fmla="*/ 21 h 4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00" h="4000">
                  <a:moveTo>
                    <a:pt x="0" y="750"/>
                  </a:moveTo>
                  <a:cubicBezTo>
                    <a:pt x="0" y="612"/>
                    <a:pt x="112" y="500"/>
                    <a:pt x="250" y="500"/>
                  </a:cubicBezTo>
                  <a:lnTo>
                    <a:pt x="4300" y="500"/>
                  </a:lnTo>
                  <a:lnTo>
                    <a:pt x="4300" y="250"/>
                  </a:lnTo>
                  <a:cubicBezTo>
                    <a:pt x="4300" y="112"/>
                    <a:pt x="4412" y="0"/>
                    <a:pt x="4550" y="0"/>
                  </a:cubicBezTo>
                  <a:cubicBezTo>
                    <a:pt x="4688" y="0"/>
                    <a:pt x="4800" y="112"/>
                    <a:pt x="4800" y="250"/>
                  </a:cubicBezTo>
                  <a:lnTo>
                    <a:pt x="4800" y="3250"/>
                  </a:lnTo>
                  <a:cubicBezTo>
                    <a:pt x="4800" y="3388"/>
                    <a:pt x="4688" y="3500"/>
                    <a:pt x="4550" y="3500"/>
                  </a:cubicBezTo>
                  <a:lnTo>
                    <a:pt x="500" y="3500"/>
                  </a:lnTo>
                  <a:lnTo>
                    <a:pt x="500" y="3750"/>
                  </a:lnTo>
                  <a:cubicBezTo>
                    <a:pt x="500" y="3888"/>
                    <a:pt x="388" y="4000"/>
                    <a:pt x="250" y="4000"/>
                  </a:cubicBezTo>
                  <a:cubicBezTo>
                    <a:pt x="112" y="4000"/>
                    <a:pt x="0" y="3888"/>
                    <a:pt x="0" y="3750"/>
                  </a:cubicBezTo>
                  <a:lnTo>
                    <a:pt x="0" y="750"/>
                  </a:lnTo>
                  <a:close/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6" name="Freeform 29">
              <a:extLst>
                <a:ext uri="{FF2B5EF4-FFF2-40B4-BE49-F238E27FC236}">
                  <a16:creationId xmlns:a16="http://schemas.microsoft.com/office/drawing/2014/main" id="{0F7A2097-BB7A-A544-9EEE-3ADDA142F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07" y="356"/>
              <a:ext cx="14" cy="11"/>
            </a:xfrm>
            <a:custGeom>
              <a:avLst/>
              <a:gdLst>
                <a:gd name="T0" fmla="*/ 0 w 500"/>
                <a:gd name="T1" fmla="*/ 4 h 375"/>
                <a:gd name="T2" fmla="*/ 7 w 500"/>
                <a:gd name="T3" fmla="*/ 11 h 375"/>
                <a:gd name="T4" fmla="*/ 14 w 500"/>
                <a:gd name="T5" fmla="*/ 4 h 375"/>
                <a:gd name="T6" fmla="*/ 11 w 500"/>
                <a:gd name="T7" fmla="*/ 0 h 375"/>
                <a:gd name="T8" fmla="*/ 7 w 500"/>
                <a:gd name="T9" fmla="*/ 4 h 375"/>
                <a:gd name="T10" fmla="*/ 7 w 500"/>
                <a:gd name="T11" fmla="*/ 11 h 3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0" h="375">
                  <a:moveTo>
                    <a:pt x="0" y="125"/>
                  </a:moveTo>
                  <a:cubicBezTo>
                    <a:pt x="0" y="263"/>
                    <a:pt x="112" y="375"/>
                    <a:pt x="250" y="375"/>
                  </a:cubicBezTo>
                  <a:cubicBezTo>
                    <a:pt x="388" y="375"/>
                    <a:pt x="500" y="263"/>
                    <a:pt x="500" y="125"/>
                  </a:cubicBezTo>
                  <a:cubicBezTo>
                    <a:pt x="500" y="56"/>
                    <a:pt x="444" y="0"/>
                    <a:pt x="375" y="0"/>
                  </a:cubicBezTo>
                  <a:cubicBezTo>
                    <a:pt x="306" y="0"/>
                    <a:pt x="250" y="56"/>
                    <a:pt x="250" y="125"/>
                  </a:cubicBezTo>
                  <a:lnTo>
                    <a:pt x="250" y="375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7" name="Line 30">
              <a:extLst>
                <a:ext uri="{FF2B5EF4-FFF2-40B4-BE49-F238E27FC236}">
                  <a16:creationId xmlns:a16="http://schemas.microsoft.com/office/drawing/2014/main" id="{CF597197-BBAF-0A52-47C3-76C62560F6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021" y="360"/>
              <a:ext cx="0" cy="76"/>
            </a:xfrm>
            <a:prstGeom prst="line">
              <a:avLst/>
            </a:prstGeom>
            <a:noFill/>
            <a:ln w="4763" cap="rnd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8" name="Freeform 31">
              <a:extLst>
                <a:ext uri="{FF2B5EF4-FFF2-40B4-BE49-F238E27FC236}">
                  <a16:creationId xmlns:a16="http://schemas.microsoft.com/office/drawing/2014/main" id="{C25980C1-4D39-3B1B-17D9-E61744685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14" cy="7"/>
            </a:xfrm>
            <a:custGeom>
              <a:avLst/>
              <a:gdLst>
                <a:gd name="T0" fmla="*/ 14 w 500"/>
                <a:gd name="T1" fmla="*/ 0 h 250"/>
                <a:gd name="T2" fmla="*/ 7 w 500"/>
                <a:gd name="T3" fmla="*/ 7 h 250"/>
                <a:gd name="T4" fmla="*/ 0 w 500"/>
                <a:gd name="T5" fmla="*/ 7 h 25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00" h="250">
                  <a:moveTo>
                    <a:pt x="500" y="0"/>
                  </a:moveTo>
                  <a:cubicBezTo>
                    <a:pt x="500" y="138"/>
                    <a:pt x="388" y="250"/>
                    <a:pt x="250" y="250"/>
                  </a:cubicBezTo>
                  <a:lnTo>
                    <a:pt x="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9" name="Freeform 32">
              <a:extLst>
                <a:ext uri="{FF2B5EF4-FFF2-40B4-BE49-F238E27FC236}">
                  <a16:creationId xmlns:a16="http://schemas.microsoft.com/office/drawing/2014/main" id="{E1EF9B18-DE41-7687-CDD6-D04F27408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26" y="346"/>
              <a:ext cx="7" cy="7"/>
            </a:xfrm>
            <a:custGeom>
              <a:avLst/>
              <a:gdLst>
                <a:gd name="T0" fmla="*/ 0 w 250"/>
                <a:gd name="T1" fmla="*/ 0 h 250"/>
                <a:gd name="T2" fmla="*/ 4 w 250"/>
                <a:gd name="T3" fmla="*/ 4 h 250"/>
                <a:gd name="T4" fmla="*/ 7 w 250"/>
                <a:gd name="T5" fmla="*/ 0 h 250"/>
                <a:gd name="T6" fmla="*/ 7 w 250"/>
                <a:gd name="T7" fmla="*/ 7 h 25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0" h="250">
                  <a:moveTo>
                    <a:pt x="0" y="0"/>
                  </a:moveTo>
                  <a:cubicBezTo>
                    <a:pt x="0" y="69"/>
                    <a:pt x="56" y="125"/>
                    <a:pt x="125" y="125"/>
                  </a:cubicBezTo>
                  <a:cubicBezTo>
                    <a:pt x="194" y="125"/>
                    <a:pt x="250" y="69"/>
                    <a:pt x="250" y="0"/>
                  </a:cubicBezTo>
                  <a:lnTo>
                    <a:pt x="250" y="250"/>
                  </a:lnTo>
                </a:path>
              </a:pathLst>
            </a:custGeom>
            <a:noFill/>
            <a:ln w="476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1037" name="Rectangle 39">
            <a:extLst>
              <a:ext uri="{FF2B5EF4-FFF2-40B4-BE49-F238E27FC236}">
                <a16:creationId xmlns:a16="http://schemas.microsoft.com/office/drawing/2014/main" id="{6FB1990C-5746-A8F5-2501-865BB1CB1A7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68567" y="33339"/>
            <a:ext cx="6412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I</a:t>
            </a:r>
            <a:endParaRPr lang="en-US" altLang="en-US" sz="900" b="0"/>
          </a:p>
        </p:txBody>
      </p:sp>
      <p:sp>
        <p:nvSpPr>
          <p:cNvPr id="1038" name="Rectangle 40">
            <a:extLst>
              <a:ext uri="{FF2B5EF4-FFF2-40B4-BE49-F238E27FC236}">
                <a16:creationId xmlns:a16="http://schemas.microsoft.com/office/drawing/2014/main" id="{2B0506E8-2EE1-BE20-016A-527F11EEE7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8" y="163514"/>
            <a:ext cx="15709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endParaRPr lang="en-US" altLang="en-US" sz="900" b="0"/>
          </a:p>
        </p:txBody>
      </p:sp>
      <p:sp>
        <p:nvSpPr>
          <p:cNvPr id="1039" name="Rectangle 41">
            <a:extLst>
              <a:ext uri="{FF2B5EF4-FFF2-40B4-BE49-F238E27FC236}">
                <a16:creationId xmlns:a16="http://schemas.microsoft.com/office/drawing/2014/main" id="{F0F0FF94-0DBF-E955-E333-69E6B91465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0" name="Rectangle 42">
            <a:extLst>
              <a:ext uri="{FF2B5EF4-FFF2-40B4-BE49-F238E27FC236}">
                <a16:creationId xmlns:a16="http://schemas.microsoft.com/office/drawing/2014/main" id="{A727FD77-9992-7E1E-44CF-5FD15E1340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1" name="Rectangle 43">
            <a:extLst>
              <a:ext uri="{FF2B5EF4-FFF2-40B4-BE49-F238E27FC236}">
                <a16:creationId xmlns:a16="http://schemas.microsoft.com/office/drawing/2014/main" id="{27CA0549-D2E7-0D0E-D779-4E8421C1A7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4" name="Rectangle 49">
            <a:extLst>
              <a:ext uri="{FF2B5EF4-FFF2-40B4-BE49-F238E27FC236}">
                <a16:creationId xmlns:a16="http://schemas.microsoft.com/office/drawing/2014/main" id="{91C6AA9F-E7BE-DFAF-FE88-B589AD1E42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894484" y="33339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C</a:t>
            </a:r>
            <a:endParaRPr lang="en-US" altLang="en-US" sz="900" b="0"/>
          </a:p>
        </p:txBody>
      </p:sp>
      <p:sp>
        <p:nvSpPr>
          <p:cNvPr id="1045" name="Rectangle 50">
            <a:extLst>
              <a:ext uri="{FF2B5EF4-FFF2-40B4-BE49-F238E27FC236}">
                <a16:creationId xmlns:a16="http://schemas.microsoft.com/office/drawing/2014/main" id="{08FD5756-143D-063D-CE27-49C0FD611E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032067" y="163514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A</a:t>
            </a:r>
            <a:endParaRPr lang="en-US" altLang="en-US" sz="900" b="0"/>
          </a:p>
        </p:txBody>
      </p:sp>
      <p:sp>
        <p:nvSpPr>
          <p:cNvPr id="1046" name="Rectangle 51">
            <a:extLst>
              <a:ext uri="{FF2B5EF4-FFF2-40B4-BE49-F238E27FC236}">
                <a16:creationId xmlns:a16="http://schemas.microsoft.com/office/drawing/2014/main" id="{51D69E05-2F0C-12C1-6481-E1EA2B74C5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171767" y="274639"/>
            <a:ext cx="1394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&amp;</a:t>
            </a:r>
            <a:endParaRPr lang="en-US" altLang="en-US" sz="900" b="0"/>
          </a:p>
        </p:txBody>
      </p:sp>
      <p:sp>
        <p:nvSpPr>
          <p:cNvPr id="1047" name="Rectangle 52">
            <a:extLst>
              <a:ext uri="{FF2B5EF4-FFF2-40B4-BE49-F238E27FC236}">
                <a16:creationId xmlns:a16="http://schemas.microsoft.com/office/drawing/2014/main" id="{9FD8A50F-509E-91A4-739F-FC68C4B0FD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13584" y="409576"/>
            <a:ext cx="120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endParaRPr lang="en-US" altLang="en-US" sz="900" b="0"/>
          </a:p>
        </p:txBody>
      </p:sp>
      <p:sp>
        <p:nvSpPr>
          <p:cNvPr id="1048" name="Rectangle 53">
            <a:extLst>
              <a:ext uri="{FF2B5EF4-FFF2-40B4-BE49-F238E27FC236}">
                <a16:creationId xmlns:a16="http://schemas.microsoft.com/office/drawing/2014/main" id="{E9F9BC0C-06CB-D98D-5812-A72BD05D03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461751" y="52705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FFFFFF"/>
                </a:solidFill>
                <a:latin typeface="Times New Roman" panose="02020603050405020304" pitchFamily="18" charset="0"/>
              </a:rPr>
              <a:t>S</a:t>
            </a:r>
            <a:endParaRPr lang="en-US" altLang="en-US" sz="900" b="0"/>
          </a:p>
        </p:txBody>
      </p:sp>
      <p:sp>
        <p:nvSpPr>
          <p:cNvPr id="1049" name="Rectangle 54">
            <a:extLst>
              <a:ext uri="{FF2B5EF4-FFF2-40B4-BE49-F238E27FC236}">
                <a16:creationId xmlns:a16="http://schemas.microsoft.com/office/drawing/2014/main" id="{835868D6-91BA-EC90-96AA-DAACBF87A4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655301" y="566739"/>
            <a:ext cx="3654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i="1">
                <a:solidFill>
                  <a:srgbClr val="FFFFFF"/>
                </a:solidFill>
              </a:rPr>
              <a:t>1Team</a:t>
            </a:r>
            <a:endParaRPr lang="en-US" altLang="en-US" sz="900" b="0"/>
          </a:p>
        </p:txBody>
      </p:sp>
      <p:sp>
        <p:nvSpPr>
          <p:cNvPr id="1053" name="Text Box 64">
            <a:extLst>
              <a:ext uri="{FF2B5EF4-FFF2-40B4-BE49-F238E27FC236}">
                <a16:creationId xmlns:a16="http://schemas.microsoft.com/office/drawing/2014/main" id="{4054AC48-2D88-CF7C-FEF8-41453FB5B9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154738"/>
            <a:ext cx="6015567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800" b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F72087-9DE0-7CA3-40DD-7399ABB799B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" r="1988"/>
          <a:stretch/>
        </p:blipFill>
        <p:spPr>
          <a:xfrm>
            <a:off x="10911197" y="6309418"/>
            <a:ext cx="969264" cy="455815"/>
          </a:xfrm>
          <a:prstGeom prst="rect">
            <a:avLst/>
          </a:prstGeom>
        </p:spPr>
      </p:pic>
      <p:sp>
        <p:nvSpPr>
          <p:cNvPr id="3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B0E2A63D-4C17-3982-A141-159E54C037B6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369511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Wingdings" panose="05000000000000000000" pitchFamily="2" charset="2"/>
        <a:buChar char="v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800100" indent="-1143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92200" indent="-1778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371600" indent="-165100" algn="l" rtl="0" eaLnBrk="0" fontAlgn="base" hangingPunct="0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5pPr>
      <a:lvl6pPr marL="18288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6pPr>
      <a:lvl7pPr marL="22860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7pPr>
      <a:lvl8pPr marL="27432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8pPr>
      <a:lvl9pPr marL="3200400" indent="-165100" algn="l" rtl="0" fontAlgn="base">
        <a:spcBef>
          <a:spcPct val="20000"/>
        </a:spcBef>
        <a:spcAft>
          <a:spcPct val="0"/>
        </a:spcAft>
        <a:buClr>
          <a:srgbClr val="009999"/>
        </a:buClr>
        <a:buChar char="»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D97F68-CC38-3C48-B083-3B4A1457065E}" type="slidenum">
              <a:rPr kumimoji="0" lang="en-US" sz="900" b="0" i="0" u="none" strike="noStrike" kern="600" cap="none" spc="10" normalizeH="0" baseline="0" noProof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600" cap="none" spc="10" normalizeH="0" baseline="0" noProof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04" y="396282"/>
            <a:ext cx="11436350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32" tIns="45716" rIns="91432" bIns="45716" rtlCol="0" anchor="ctr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600" spc="50">
                <a:solidFill>
                  <a:schemeClr val="tx1"/>
                </a:solidFill>
                <a:latin typeface="Arial Narrow"/>
                <a:ea typeface="+mj-ea"/>
                <a:cs typeface="Arial Narrow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50" b="0" i="0" u="none" strike="noStrike" kern="600" cap="none" spc="5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Invention Light"/>
                <a:ea typeface="+mj-ea"/>
              </a:rPr>
              <a:t>FASTCLUS in S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0BF671-7832-C8D2-A107-701B83CDE98C}"/>
              </a:ext>
            </a:extLst>
          </p:cNvPr>
          <p:cNvSpPr txBox="1"/>
          <p:nvPr/>
        </p:nvSpPr>
        <p:spPr>
          <a:xfrm>
            <a:off x="374904" y="1427018"/>
            <a:ext cx="10182260" cy="16902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FASTCLUS is SAS procedure used for the clustering analysis. This procedure displays a cluster summary, giving the following for each cluster:</a:t>
            </a:r>
          </a:p>
          <a:p>
            <a:pPr algn="l"/>
            <a:endParaRPr lang="en-US" sz="1600" dirty="0"/>
          </a:p>
          <a:p>
            <a:pPr algn="l"/>
            <a:r>
              <a:rPr lang="en-US" sz="1600" dirty="0"/>
              <a:t>Cluster number, the number of observations in the cluster, maximum distance from seed to observation, the maximum distance from the cluster seed to any observation in the clus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38A468-9CA4-20B1-DABB-F2C1910AFA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8156" y="2819111"/>
            <a:ext cx="3999008" cy="36610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D992C57-46E0-2A42-BF80-F9CF22400696}"/>
              </a:ext>
            </a:extLst>
          </p:cNvPr>
          <p:cNvSpPr txBox="1"/>
          <p:nvPr/>
        </p:nvSpPr>
        <p:spPr>
          <a:xfrm>
            <a:off x="236359" y="2865980"/>
            <a:ext cx="6060117" cy="3614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PROC FASTCLUS 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      DATA=STDCAND 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        MAXC=N_TEST 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      MAXITER=0 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OUT=RESULT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	SEED=STDTEST;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			ODS OUTPUT INITIALSEEDS=INITIAL;</a:t>
            </a:r>
          </a:p>
          <a:p>
            <a:pPr marL="228600">
              <a:lnSpc>
                <a:spcPct val="150000"/>
              </a:lnSpc>
            </a:pPr>
            <a:r>
              <a:rPr lang="en-US" sz="1100" b="1" dirty="0">
                <a:solidFill>
                  <a:srgbClr val="C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			VAR </a:t>
            </a: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SALES_L6M SALES_L5M SALES_L4M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SALES_L3M SALES_L2M SALES_L1M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CALLS_L6M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MMF_L6M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EM_ENGAGED_L6M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ALERTS_ENGAGED_L6M; </a:t>
            </a:r>
          </a:p>
          <a:p>
            <a:pPr marL="228600">
              <a:lnSpc>
                <a:spcPct val="150000"/>
              </a:lnSpc>
            </a:pPr>
            <a:r>
              <a:rPr lang="en-US" sz="1100" dirty="0">
                <a:ea typeface="Calibri" panose="020F0502020204030204" pitchFamily="34" charset="0"/>
                <a:cs typeface="Calibri" panose="020F0502020204030204" pitchFamily="34" charset="0"/>
              </a:rPr>
              <a:t>RUN;</a:t>
            </a:r>
          </a:p>
        </p:txBody>
      </p:sp>
    </p:spTree>
    <p:extLst>
      <p:ext uri="{BB962C8B-B14F-4D97-AF65-F5344CB8AC3E}">
        <p14:creationId xmlns:p14="http://schemas.microsoft.com/office/powerpoint/2010/main" val="32272479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01741-17CF-B884-B063-4190E2E2B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3ECE5-D8F4-3DE8-CD78-9E3CF7C7D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2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615E68-B764-C175-EAFB-015E458DA339}"/>
              </a:ext>
            </a:extLst>
          </p:cNvPr>
          <p:cNvSpPr txBox="1"/>
          <p:nvPr/>
        </p:nvSpPr>
        <p:spPr>
          <a:xfrm>
            <a:off x="323561" y="2729094"/>
            <a:ext cx="5375564" cy="2549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b="1" dirty="0">
                <a:solidFill>
                  <a:srgbClr val="C00000"/>
                </a:solidFill>
              </a:rPr>
              <a:t>PROC REG </a:t>
            </a:r>
            <a:r>
              <a:rPr lang="en-US" sz="1600" dirty="0"/>
              <a:t>DATA= DATA OUTEST=OUT_MOD;</a:t>
            </a:r>
          </a:p>
          <a:p>
            <a:pPr algn="l"/>
            <a:r>
              <a:rPr lang="en-US" sz="1600" dirty="0"/>
              <a:t>MODEL: SALES_POST_12M = SALES_PRE_12M </a:t>
            </a:r>
          </a:p>
          <a:p>
            <a:pPr algn="l"/>
            <a:r>
              <a:rPr lang="en-US" sz="1600" dirty="0"/>
              <a:t>CALLS_POST_12M MMF_POST_12M </a:t>
            </a:r>
            <a:r>
              <a:rPr lang="en-US" sz="1600" dirty="0">
                <a:ea typeface="Calibri" panose="020F0502020204030204" pitchFamily="34" charset="0"/>
                <a:cs typeface="Calibri" panose="020F0502020204030204" pitchFamily="34" charset="0"/>
              </a:rPr>
              <a:t>EM_ENGAGED_POST_L12M ALERTS_ENGAGED_POST_L12M</a:t>
            </a:r>
            <a:endParaRPr lang="en-US" sz="1600" dirty="0"/>
          </a:p>
          <a:p>
            <a:pPr algn="l"/>
            <a:r>
              <a:rPr lang="en-US" sz="1600" b="1" dirty="0">
                <a:solidFill>
                  <a:srgbClr val="C00000"/>
                </a:solidFill>
              </a:rPr>
              <a:t>TEST_FLAG</a:t>
            </a:r>
            <a:r>
              <a:rPr lang="en-US" sz="1600" dirty="0"/>
              <a:t>/VIF; </a:t>
            </a:r>
          </a:p>
          <a:p>
            <a:pPr algn="l"/>
            <a:r>
              <a:rPr lang="en-US" sz="1600" dirty="0"/>
              <a:t>ID ZIP_CD;</a:t>
            </a:r>
          </a:p>
          <a:p>
            <a:pPr algn="l"/>
            <a:r>
              <a:rPr lang="en-US" sz="1600" dirty="0"/>
              <a:t>PLOT / RIDGEPLOT NOMODEL NOSTAT;</a:t>
            </a:r>
          </a:p>
          <a:p>
            <a:pPr algn="l"/>
            <a:r>
              <a:rPr lang="en-US" sz="1600" dirty="0"/>
              <a:t>ODS OUTPUT OUTPUTSTATISTICS=OUTSTATS;</a:t>
            </a:r>
          </a:p>
          <a:p>
            <a:pPr algn="l"/>
            <a:r>
              <a:rPr lang="en-US" sz="1600" dirty="0"/>
              <a:t>RUN;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CE2BFA1-BE18-5A77-D9EB-E3DE56E81E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9125" y="2666062"/>
            <a:ext cx="6115050" cy="23405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C2EA3CF-2268-766B-FA26-F626E797AAEE}"/>
              </a:ext>
            </a:extLst>
          </p:cNvPr>
          <p:cNvSpPr txBox="1"/>
          <p:nvPr/>
        </p:nvSpPr>
        <p:spPr>
          <a:xfrm>
            <a:off x="2109642" y="5404825"/>
            <a:ext cx="5593485" cy="762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 b="1" dirty="0"/>
              <a:t>Impact  (%) – Estimate * # Tests*12 /Total 12 Month Sa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9CF453-6FBF-F06C-6210-38C9DD8EAD01}"/>
              </a:ext>
            </a:extLst>
          </p:cNvPr>
          <p:cNvSpPr txBox="1"/>
          <p:nvPr/>
        </p:nvSpPr>
        <p:spPr>
          <a:xfrm>
            <a:off x="323561" y="1427018"/>
            <a:ext cx="11261183" cy="8408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/>
              <a:t>Regression model is run based on the matched test and control pair universe with post sales as dependent variables and post variables as independent variables</a:t>
            </a:r>
          </a:p>
        </p:txBody>
      </p:sp>
    </p:spTree>
    <p:extLst>
      <p:ext uri="{BB962C8B-B14F-4D97-AF65-F5344CB8AC3E}">
        <p14:creationId xmlns:p14="http://schemas.microsoft.com/office/powerpoint/2010/main" val="258467250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pGaXG7WUicBTfw4LLmew"/>
</p:tagLst>
</file>

<file path=ppt/theme/theme1.xml><?xml version="1.0" encoding="utf-8"?>
<a:theme xmlns:a="http://schemas.openxmlformats.org/drawingml/2006/main" name="Merck 16:9 PPT Theme">
  <a:themeElements>
    <a:clrScheme name="Custom 30">
      <a:dk1>
        <a:srgbClr val="0C2340"/>
      </a:dk1>
      <a:lt1>
        <a:srgbClr val="FFFFFF"/>
      </a:lt1>
      <a:dk2>
        <a:srgbClr val="688CE8"/>
      </a:dk2>
      <a:lt2>
        <a:srgbClr val="69B8F7"/>
      </a:lt2>
      <a:accent1>
        <a:srgbClr val="00857C"/>
      </a:accent1>
      <a:accent2>
        <a:srgbClr val="6ECEB2"/>
      </a:accent2>
      <a:accent3>
        <a:srgbClr val="BFED33"/>
      </a:accent3>
      <a:accent4>
        <a:srgbClr val="0C2340"/>
      </a:accent4>
      <a:accent5>
        <a:srgbClr val="FFF063"/>
      </a:accent5>
      <a:accent6>
        <a:srgbClr val="5350E4"/>
      </a:accent6>
      <a:hlink>
        <a:srgbClr val="11867B"/>
      </a:hlink>
      <a:folHlink>
        <a:srgbClr val="90C4D8"/>
      </a:folHlink>
    </a:clrScheme>
    <a:fontScheme name="Merck font theme">
      <a:majorFont>
        <a:latin typeface="Invention Light"/>
        <a:ea typeface=""/>
        <a:cs typeface=""/>
      </a:majorFont>
      <a:minorFont>
        <a:latin typeface="Inventio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16_9_Merck" id="{6816B23C-D596-B641-AC59-82B9DBB69469}" vid="{EF4CFF4B-FCCB-D84B-8F15-5CBFC5300DB2}"/>
    </a:ext>
  </a:extLst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47AAA0-3E17-4D17-ACCC-88C0FDDDE60C}">
  <we:reference id="e849ddb8-6bbd-4833-bd4b-59030099d63e" version="1.0.0.0" store="EXCatalog" storeType="EXCatalog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b8faba5-28e6-4bad-b285-1ce4ed480925">
      <Terms xmlns="http://schemas.microsoft.com/office/infopath/2007/PartnerControls"/>
    </lcf76f155ced4ddcb4097134ff3c332f>
    <TaxCatchAll xmlns="0ed980d0-2f8d-42c7-8d66-3c434fc0ea4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F678FA71510043B195A1786C6312B0" ma:contentTypeVersion="8" ma:contentTypeDescription="Create a new document." ma:contentTypeScope="" ma:versionID="7f6794eae2ab671940660f7552b83b54">
  <xsd:schema xmlns:xsd="http://www.w3.org/2001/XMLSchema" xmlns:xs="http://www.w3.org/2001/XMLSchema" xmlns:p="http://schemas.microsoft.com/office/2006/metadata/properties" xmlns:ns2="4b8faba5-28e6-4bad-b285-1ce4ed480925" xmlns:ns3="0ed980d0-2f8d-42c7-8d66-3c434fc0ea4b" targetNamespace="http://schemas.microsoft.com/office/2006/metadata/properties" ma:root="true" ma:fieldsID="cafbccc572dc2c0e541192a55a97c71c" ns2:_="" ns3:_="">
    <xsd:import namespace="4b8faba5-28e6-4bad-b285-1ce4ed480925"/>
    <xsd:import namespace="0ed980d0-2f8d-42c7-8d66-3c434fc0ea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faba5-28e6-4bad-b285-1ce4ed480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f5e642b-91f5-4888-b018-43334a040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980d0-2f8d-42c7-8d66-3c434fc0ea4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9753bcd-dfeb-40f7-aae0-e49ee8cc79a7}" ma:internalName="TaxCatchAll" ma:showField="CatchAllData" ma:web="0ed980d0-2f8d-42c7-8d66-3c434fc0ea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330566-0913-436A-BAE1-E2499F0F0D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A83BC6D-AD32-471F-B528-DB398937D951}">
  <ds:schemaRefs>
    <ds:schemaRef ds:uri="http://schemas.microsoft.com/office/2006/documentManagement/types"/>
    <ds:schemaRef ds:uri="http://www.w3.org/XML/1998/namespace"/>
    <ds:schemaRef ds:uri="http://purl.org/dc/terms/"/>
    <ds:schemaRef ds:uri="4b8faba5-28e6-4bad-b285-1ce4ed480925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ed980d0-2f8d-42c7-8d66-3c434fc0ea4b"/>
  </ds:schemaRefs>
</ds:datastoreItem>
</file>

<file path=customXml/itemProps3.xml><?xml version="1.0" encoding="utf-8"?>
<ds:datastoreItem xmlns:ds="http://schemas.openxmlformats.org/officeDocument/2006/customXml" ds:itemID="{F5DBAF2B-E805-4C9F-908A-2CFAD1FCD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8faba5-28e6-4bad-b285-1ce4ed480925"/>
    <ds:schemaRef ds:uri="0ed980d0-2f8d-42c7-8d66-3c434fc0ea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k 16_9 default PPT template (1)</Template>
  <TotalTime>4956</TotalTime>
  <Words>248</Words>
  <Application>Microsoft Office PowerPoint</Application>
  <PresentationFormat>Widescreen</PresentationFormat>
  <Paragraphs>3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Arial Narrow</vt:lpstr>
      <vt:lpstr>Calibri</vt:lpstr>
      <vt:lpstr>Invention</vt:lpstr>
      <vt:lpstr>Invention Light</vt:lpstr>
      <vt:lpstr>Times New Roman</vt:lpstr>
      <vt:lpstr>Wingdings</vt:lpstr>
      <vt:lpstr>Merck 16:9 PPT Theme</vt:lpstr>
      <vt:lpstr>1_Default Design</vt:lpstr>
      <vt:lpstr>Picture</vt:lpstr>
      <vt:lpstr>PowerPoint Presentation</vt:lpstr>
      <vt:lpstr>REGRESS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D University</dc:title>
  <dc:subject>2022 presentation</dc:subject>
  <dc:creator>Sinha, Anurag</dc:creator>
  <cp:keywords/>
  <dc:description>For external audiences in the US and Canada</dc:description>
  <cp:lastModifiedBy>A, Sarath</cp:lastModifiedBy>
  <cp:revision>269</cp:revision>
  <dcterms:created xsi:type="dcterms:W3CDTF">2022-11-08T10:28:18Z</dcterms:created>
  <dcterms:modified xsi:type="dcterms:W3CDTF">2023-09-27T08:00:5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F678FA71510043B195A1786C6312B0</vt:lpwstr>
  </property>
  <property fmtid="{D5CDD505-2E9C-101B-9397-08002B2CF9AE}" pid="3" name="MSIP_Label_927fd646-07cb-4c4e-a107-4e4d6b30ba1b_Enabled">
    <vt:lpwstr>true</vt:lpwstr>
  </property>
  <property fmtid="{D5CDD505-2E9C-101B-9397-08002B2CF9AE}" pid="4" name="MSIP_Label_927fd646-07cb-4c4e-a107-4e4d6b30ba1b_SetDate">
    <vt:lpwstr>2023-02-20T10:11:15Z</vt:lpwstr>
  </property>
  <property fmtid="{D5CDD505-2E9C-101B-9397-08002B2CF9AE}" pid="5" name="MSIP_Label_927fd646-07cb-4c4e-a107-4e4d6b30ba1b_Method">
    <vt:lpwstr>Privileged</vt:lpwstr>
  </property>
  <property fmtid="{D5CDD505-2E9C-101B-9397-08002B2CF9AE}" pid="6" name="MSIP_Label_927fd646-07cb-4c4e-a107-4e4d6b30ba1b_Name">
    <vt:lpwstr>927fd646-07cb-4c4e-a107-4e4d6b30ba1b</vt:lpwstr>
  </property>
  <property fmtid="{D5CDD505-2E9C-101B-9397-08002B2CF9AE}" pid="7" name="MSIP_Label_927fd646-07cb-4c4e-a107-4e4d6b30ba1b_SiteId">
    <vt:lpwstr>a00de4ec-48a8-43a6-be74-e31274e2060d</vt:lpwstr>
  </property>
  <property fmtid="{D5CDD505-2E9C-101B-9397-08002B2CF9AE}" pid="8" name="MSIP_Label_927fd646-07cb-4c4e-a107-4e4d6b30ba1b_ActionId">
    <vt:lpwstr>327d2cb7-7ab1-4f63-99d4-4d87d73f3514</vt:lpwstr>
  </property>
  <property fmtid="{D5CDD505-2E9C-101B-9397-08002B2CF9AE}" pid="9" name="MSIP_Label_927fd646-07cb-4c4e-a107-4e4d6b30ba1b_ContentBits">
    <vt:lpwstr>1</vt:lpwstr>
  </property>
  <property fmtid="{D5CDD505-2E9C-101B-9397-08002B2CF9AE}" pid="10" name="MerckAIPLabel">
    <vt:lpwstr>Proprietary</vt:lpwstr>
  </property>
  <property fmtid="{D5CDD505-2E9C-101B-9397-08002B2CF9AE}" pid="11" name="MerckAIPDataExchange">
    <vt:lpwstr>!MRKMIP@Proprietary</vt:lpwstr>
  </property>
</Properties>
</file>